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comments/comment1.xml" ContentType="application/vnd.openxmlformats-officedocument.presentationml.comment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48" r:id="rId1"/>
  </p:sldMasterIdLst>
  <p:notesMasterIdLst>
    <p:notesMasterId r:id="rId12"/>
  </p:notesMasterIdLst>
  <p:handoutMasterIdLst>
    <p:handoutMasterId r:id="rId13"/>
  </p:handoutMasterIdLst>
  <p:sldIdLst>
    <p:sldId id="440" r:id="rId2"/>
    <p:sldId id="454" r:id="rId3"/>
    <p:sldId id="455" r:id="rId4"/>
    <p:sldId id="450" r:id="rId5"/>
    <p:sldId id="452" r:id="rId6"/>
    <p:sldId id="451" r:id="rId7"/>
    <p:sldId id="456" r:id="rId8"/>
    <p:sldId id="457" r:id="rId9"/>
    <p:sldId id="458" r:id="rId10"/>
    <p:sldId id="438" r:id="rId11"/>
  </p:sldIdLst>
  <p:sldSz cx="9144000" cy="6858000" type="screen4x3"/>
  <p:notesSz cx="6797675" cy="9928225"/>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15:clr>
            <a:srgbClr val="A4A3A4"/>
          </p15:clr>
        </p15:guide>
        <p15:guide id="11" orient="horz" pos="216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eal, Richard (UK - St Albans)" initials="NR(-SA" lastIdx="4" clrIdx="0">
    <p:extLst>
      <p:ext uri="{19B8F6BF-5375-455C-9EA6-DF929625EA0E}">
        <p15:presenceInfo xmlns:p15="http://schemas.microsoft.com/office/powerpoint/2012/main" userId="S-1-5-21-83642069-1626958306-390482200-39523" providerId="AD"/>
      </p:ext>
    </p:extLst>
  </p:cmAuthor>
  <p:cmAuthor id="2" name="Necsa-Damacus, George (UK - Cambridge)" initials="NG(-C" lastIdx="4" clrIdx="1">
    <p:extLst>
      <p:ext uri="{19B8F6BF-5375-455C-9EA6-DF929625EA0E}">
        <p15:presenceInfo xmlns:p15="http://schemas.microsoft.com/office/powerpoint/2012/main" userId="S-1-5-21-83642069-1626958306-390482200-6112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CA8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984" autoAdjust="0"/>
  </p:normalViewPr>
  <p:slideViewPr>
    <p:cSldViewPr snapToGrid="0" showGuides="1">
      <p:cViewPr varScale="1">
        <p:scale>
          <a:sx n="66" d="100"/>
          <a:sy n="66" d="100"/>
        </p:scale>
        <p:origin x="1232" y="32"/>
      </p:cViewPr>
      <p:guideLst>
        <p:guide/>
        <p:guide orient="horz" pos="216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64" d="100"/>
          <a:sy n="64" d="100"/>
        </p:scale>
        <p:origin x="1938" y="8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file:///\\uk\ukvfmroot\Audit%20Advisory\1.%20Clients\U\University%20of%20Cambridge\2017-18\Internal%20Audits\Departmental%20Assurance%20Survey\Reporting\FUG%20Presentation_July%2018\Data%20and%20diagrams_FUG_v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884615384615384E-2"/>
          <c:y val="0.10238077331630605"/>
          <c:w val="0.89423076923076927"/>
          <c:h val="0.58056971629208098"/>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E1F6-4805-94EC-311C6944E4CC}"/>
              </c:ext>
            </c:extLst>
          </c:dPt>
          <c:dPt>
            <c:idx val="1"/>
            <c:bubble3D val="0"/>
            <c:spPr>
              <a:solidFill>
                <a:schemeClr val="tx2"/>
              </a:solidFill>
              <a:ln w="19050">
                <a:noFill/>
              </a:ln>
              <a:effectLst/>
            </c:spPr>
            <c:extLst>
              <c:ext xmlns:c16="http://schemas.microsoft.com/office/drawing/2014/chart" uri="{C3380CC4-5D6E-409C-BE32-E72D297353CC}">
                <c16:uniqueId val="{00000003-E1F6-4805-94EC-311C6944E4CC}"/>
              </c:ext>
            </c:extLst>
          </c:dPt>
          <c:cat>
            <c:strRef>
              <c:f>Sheet1!$A$2:$A$3</c:f>
              <c:strCache>
                <c:ptCount val="2"/>
                <c:pt idx="0">
                  <c:v>1st Qtr</c:v>
                </c:pt>
                <c:pt idx="1">
                  <c:v>2nd Qtr</c:v>
                </c:pt>
              </c:strCache>
            </c:strRef>
          </c:cat>
          <c:val>
            <c:numRef>
              <c:f>Sheet1!$B$2:$B$3</c:f>
              <c:numCache>
                <c:formatCode>General</c:formatCode>
                <c:ptCount val="2"/>
                <c:pt idx="0">
                  <c:v>86</c:v>
                </c:pt>
                <c:pt idx="1">
                  <c:v>1</c:v>
                </c:pt>
              </c:numCache>
            </c:numRef>
          </c:val>
          <c:extLst>
            <c:ext xmlns:c16="http://schemas.microsoft.com/office/drawing/2014/chart" uri="{C3380CC4-5D6E-409C-BE32-E72D297353CC}">
              <c16:uniqueId val="{00000004-E1F6-4805-94EC-311C6944E4CC}"/>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9205537743756266"/>
          <c:y val="6.1962786166407338E-2"/>
          <c:w val="0.68927548634027114"/>
          <c:h val="0.84193322997731224"/>
        </c:manualLayout>
      </c:layout>
      <c:barChart>
        <c:barDir val="bar"/>
        <c:grouping val="clustered"/>
        <c:varyColors val="0"/>
        <c:ser>
          <c:idx val="0"/>
          <c:order val="0"/>
          <c:tx>
            <c:strRef>
              <c:f>'New diagram'!$B$14</c:f>
              <c:strCache>
                <c:ptCount val="1"/>
                <c:pt idx="0">
                  <c:v>UAS results only</c:v>
                </c:pt>
              </c:strCache>
            </c:strRef>
          </c:tx>
          <c:spPr>
            <a:solidFill>
              <a:schemeClr val="accent1"/>
            </a:solidFill>
            <a:ln>
              <a:noFill/>
            </a:ln>
            <a:effectLst/>
          </c:spPr>
          <c:invertIfNegative val="0"/>
          <c:dLbls>
            <c:delete val="1"/>
          </c:dLbls>
          <c:cat>
            <c:strRef>
              <c:f>'New diagram'!$A$15:$A$25</c:f>
              <c:strCache>
                <c:ptCount val="11"/>
                <c:pt idx="0">
                  <c:v>13 - Departmental Management </c:v>
                </c:pt>
                <c:pt idx="1">
                  <c:v>14 - General Ledger and Grant Journals </c:v>
                </c:pt>
                <c:pt idx="2">
                  <c:v>15 - Emergency and Continuity Planning </c:v>
                </c:pt>
                <c:pt idx="3">
                  <c:v>16 - IT Controls </c:v>
                </c:pt>
                <c:pt idx="4">
                  <c:v>17 - Accounts Receivable </c:v>
                </c:pt>
                <c:pt idx="5">
                  <c:v>18 - Risk Management </c:v>
                </c:pt>
                <c:pt idx="6">
                  <c:v>19 - Talent Management </c:v>
                </c:pt>
                <c:pt idx="7">
                  <c:v>20 - Thriving and Inclusive Community </c:v>
                </c:pt>
                <c:pt idx="8">
                  <c:v>21 - Donations </c:v>
                </c:pt>
                <c:pt idx="9">
                  <c:v>22 - Environment and Energy </c:v>
                </c:pt>
                <c:pt idx="10">
                  <c:v>23 - Estate Management </c:v>
                </c:pt>
              </c:strCache>
            </c:strRef>
          </c:cat>
          <c:val>
            <c:numRef>
              <c:f>'New diagram'!$B$15:$B$25</c:f>
              <c:numCache>
                <c:formatCode>0.0</c:formatCode>
                <c:ptCount val="11"/>
                <c:pt idx="0">
                  <c:v>3.411764706</c:v>
                </c:pt>
                <c:pt idx="1">
                  <c:v>3.5</c:v>
                </c:pt>
                <c:pt idx="2">
                  <c:v>2.8</c:v>
                </c:pt>
                <c:pt idx="3">
                  <c:v>3.25</c:v>
                </c:pt>
                <c:pt idx="4">
                  <c:v>4</c:v>
                </c:pt>
                <c:pt idx="5">
                  <c:v>3.5333333329999999</c:v>
                </c:pt>
                <c:pt idx="6">
                  <c:v>3.244444444</c:v>
                </c:pt>
                <c:pt idx="7">
                  <c:v>3.7931034480000001</c:v>
                </c:pt>
                <c:pt idx="9">
                  <c:v>3.5294117649999999</c:v>
                </c:pt>
                <c:pt idx="10">
                  <c:v>3.588235294</c:v>
                </c:pt>
              </c:numCache>
            </c:numRef>
          </c:val>
          <c:extLst>
            <c:ext xmlns:c16="http://schemas.microsoft.com/office/drawing/2014/chart" uri="{C3380CC4-5D6E-409C-BE32-E72D297353CC}">
              <c16:uniqueId val="{00000000-9DBF-4232-B737-FBFF0050408C}"/>
            </c:ext>
          </c:extLst>
        </c:ser>
        <c:ser>
          <c:idx val="1"/>
          <c:order val="1"/>
          <c:tx>
            <c:strRef>
              <c:f>'New diagram'!$C$14</c:f>
              <c:strCache>
                <c:ptCount val="1"/>
                <c:pt idx="0">
                  <c:v>University-level results</c:v>
                </c:pt>
              </c:strCache>
            </c:strRef>
          </c:tx>
          <c:spPr>
            <a:solidFill>
              <a:schemeClr val="accent2"/>
            </a:solidFill>
            <a:ln>
              <a:noFill/>
            </a:ln>
            <a:effectLst/>
          </c:spPr>
          <c:invertIfNegative val="0"/>
          <c:dLbls>
            <c:delete val="1"/>
          </c:dLbls>
          <c:cat>
            <c:strRef>
              <c:f>'New diagram'!$A$15:$A$25</c:f>
              <c:strCache>
                <c:ptCount val="11"/>
                <c:pt idx="0">
                  <c:v>13 - Departmental Management </c:v>
                </c:pt>
                <c:pt idx="1">
                  <c:v>14 - General Ledger and Grant Journals </c:v>
                </c:pt>
                <c:pt idx="2">
                  <c:v>15 - Emergency and Continuity Planning </c:v>
                </c:pt>
                <c:pt idx="3">
                  <c:v>16 - IT Controls </c:v>
                </c:pt>
                <c:pt idx="4">
                  <c:v>17 - Accounts Receivable </c:v>
                </c:pt>
                <c:pt idx="5">
                  <c:v>18 - Risk Management </c:v>
                </c:pt>
                <c:pt idx="6">
                  <c:v>19 - Talent Management </c:v>
                </c:pt>
                <c:pt idx="7">
                  <c:v>20 - Thriving and Inclusive Community </c:v>
                </c:pt>
                <c:pt idx="8">
                  <c:v>21 - Donations </c:v>
                </c:pt>
                <c:pt idx="9">
                  <c:v>22 - Environment and Energy </c:v>
                </c:pt>
                <c:pt idx="10">
                  <c:v>23 - Estate Management </c:v>
                </c:pt>
              </c:strCache>
            </c:strRef>
          </c:cat>
          <c:val>
            <c:numRef>
              <c:f>'New diagram'!$C$15:$C$25</c:f>
              <c:numCache>
                <c:formatCode>0.0</c:formatCode>
                <c:ptCount val="11"/>
                <c:pt idx="0">
                  <c:v>3.6162046908315566</c:v>
                </c:pt>
                <c:pt idx="1">
                  <c:v>3.4985465116279069</c:v>
                </c:pt>
                <c:pt idx="2">
                  <c:v>3.4985465116279069</c:v>
                </c:pt>
                <c:pt idx="3">
                  <c:v>3.4931662870159452</c:v>
                </c:pt>
                <c:pt idx="4">
                  <c:v>3.467065868263473</c:v>
                </c:pt>
                <c:pt idx="5">
                  <c:v>3.376984126984127</c:v>
                </c:pt>
                <c:pt idx="6">
                  <c:v>3.3715012722646311</c:v>
                </c:pt>
                <c:pt idx="7">
                  <c:v>3.3219448094612352</c:v>
                </c:pt>
                <c:pt idx="8">
                  <c:v>3.2985074626865671</c:v>
                </c:pt>
                <c:pt idx="9">
                  <c:v>3.0180878552971602</c:v>
                </c:pt>
                <c:pt idx="10">
                  <c:v>2.8823529411764701</c:v>
                </c:pt>
              </c:numCache>
            </c:numRef>
          </c:val>
          <c:extLst>
            <c:ext xmlns:c16="http://schemas.microsoft.com/office/drawing/2014/chart" uri="{C3380CC4-5D6E-409C-BE32-E72D297353CC}">
              <c16:uniqueId val="{00000001-9DBF-4232-B737-FBFF0050408C}"/>
            </c:ext>
          </c:extLst>
        </c:ser>
        <c:dLbls>
          <c:dLblPos val="inEnd"/>
          <c:showLegendKey val="0"/>
          <c:showVal val="1"/>
          <c:showCatName val="0"/>
          <c:showSerName val="0"/>
          <c:showPercent val="0"/>
          <c:showBubbleSize val="0"/>
        </c:dLbls>
        <c:gapWidth val="188"/>
        <c:axId val="779505280"/>
        <c:axId val="776219848"/>
      </c:barChart>
      <c:catAx>
        <c:axId val="77950528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776219848"/>
        <c:crosses val="autoZero"/>
        <c:auto val="0"/>
        <c:lblAlgn val="ctr"/>
        <c:lblOffset val="100"/>
        <c:noMultiLvlLbl val="0"/>
      </c:catAx>
      <c:valAx>
        <c:axId val="776219848"/>
        <c:scaling>
          <c:orientation val="minMax"/>
          <c:max val="4"/>
          <c:min val="2.7"/>
        </c:scaling>
        <c:delete val="0"/>
        <c:axPos val="b"/>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crossAx val="779505280"/>
        <c:crosses val="autoZero"/>
        <c:crossBetween val="between"/>
        <c:majorUnit val="0.1"/>
      </c:valAx>
      <c:spPr>
        <a:noFill/>
        <a:ln>
          <a:noFill/>
        </a:ln>
        <a:effectLst/>
      </c:spPr>
    </c:plotArea>
    <c:legend>
      <c:legendPos val="b"/>
      <c:layout>
        <c:manualLayout>
          <c:xMode val="edge"/>
          <c:yMode val="edge"/>
          <c:x val="0.33829647560825504"/>
          <c:y val="0.95656984102710729"/>
          <c:w val="0.31447433049451678"/>
          <c:h val="4.3430110437454338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legend>
    <c:plotVisOnly val="1"/>
    <c:dispBlanksAs val="gap"/>
    <c:showDLblsOverMax val="0"/>
  </c:chart>
  <c:spPr>
    <a:noFill/>
    <a:ln>
      <a:noFill/>
    </a:ln>
    <a:effectLst/>
  </c:spPr>
  <c:txPr>
    <a:bodyPr/>
    <a:lstStyle/>
    <a:p>
      <a:pPr>
        <a:defRPr sz="800">
          <a:solidFill>
            <a:schemeClr val="tx1"/>
          </a:solidFill>
          <a:latin typeface="Verdana" panose="020B0604030504040204" pitchFamily="34" charset="0"/>
          <a:ea typeface="Verdana" panose="020B0604030504040204" pitchFamily="34" charset="0"/>
          <a:cs typeface="Verdana" panose="020B0604030504040204" pitchFamily="34"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18-07-11T17:27:46.678" idx="4">
    <p:pos x="4924" y="745"/>
    <p:text>For General Ledger and Grant Journals, the Uni score was just below 3.5</p:text>
    <p:extLst>
      <p:ext uri="{C676402C-5697-4E1C-873F-D02D1690AC5C}">
        <p15:threadingInfo xmlns:p15="http://schemas.microsoft.com/office/powerpoint/2012/main" timeZoneBias="-6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5862" cy="495873"/>
          </a:xfrm>
          <a:prstGeom prst="rect">
            <a:avLst/>
          </a:prstGeom>
        </p:spPr>
        <p:txBody>
          <a:bodyPr vert="horz" lIns="90913" tIns="45457" rIns="90913" bIns="45457" rtlCol="0"/>
          <a:lstStyle>
            <a:lvl1pPr algn="l">
              <a:defRPr sz="1100"/>
            </a:lvl1pPr>
          </a:lstStyle>
          <a:p>
            <a:endParaRPr lang="en-GB" dirty="0">
              <a:latin typeface="Arial" panose="020B0604020202020204" pitchFamily="34" charset="0"/>
            </a:endParaRPr>
          </a:p>
        </p:txBody>
      </p:sp>
      <p:sp>
        <p:nvSpPr>
          <p:cNvPr id="3" name="Date Placeholder 2"/>
          <p:cNvSpPr>
            <a:spLocks noGrp="1"/>
          </p:cNvSpPr>
          <p:nvPr>
            <p:ph type="dt" sz="quarter" idx="1"/>
          </p:nvPr>
        </p:nvSpPr>
        <p:spPr>
          <a:xfrm>
            <a:off x="3850294" y="1"/>
            <a:ext cx="2945862" cy="495873"/>
          </a:xfrm>
          <a:prstGeom prst="rect">
            <a:avLst/>
          </a:prstGeom>
        </p:spPr>
        <p:txBody>
          <a:bodyPr vert="horz" lIns="90913" tIns="45457" rIns="90913" bIns="45457" rtlCol="0"/>
          <a:lstStyle>
            <a:lvl1pPr algn="r">
              <a:defRPr sz="1100"/>
            </a:lvl1pPr>
          </a:lstStyle>
          <a:p>
            <a:fld id="{B4AD245C-091B-44E2-BFB0-BD94217887F7}" type="datetimeFigureOut">
              <a:rPr lang="en-GB" smtClean="0">
                <a:latin typeface="Arial" panose="020B0604020202020204" pitchFamily="34" charset="0"/>
              </a:rPr>
              <a:t>16/07/2018</a:t>
            </a:fld>
            <a:endParaRPr lang="en-GB" dirty="0">
              <a:latin typeface="Arial" panose="020B0604020202020204" pitchFamily="34" charset="0"/>
            </a:endParaRPr>
          </a:p>
        </p:txBody>
      </p:sp>
      <p:sp>
        <p:nvSpPr>
          <p:cNvPr id="4" name="Footer Placeholder 3"/>
          <p:cNvSpPr>
            <a:spLocks noGrp="1"/>
          </p:cNvSpPr>
          <p:nvPr>
            <p:ph type="ftr" sz="quarter" idx="2"/>
          </p:nvPr>
        </p:nvSpPr>
        <p:spPr>
          <a:xfrm>
            <a:off x="4" y="9430814"/>
            <a:ext cx="2945862" cy="495873"/>
          </a:xfrm>
          <a:prstGeom prst="rect">
            <a:avLst/>
          </a:prstGeom>
        </p:spPr>
        <p:txBody>
          <a:bodyPr vert="horz" lIns="90913" tIns="45457" rIns="90913" bIns="45457" rtlCol="0" anchor="b"/>
          <a:lstStyle>
            <a:lvl1pPr algn="l">
              <a:defRPr sz="1100"/>
            </a:lvl1pPr>
          </a:lstStyle>
          <a:p>
            <a:endParaRPr lang="en-GB" dirty="0">
              <a:latin typeface="Arial" panose="020B0604020202020204" pitchFamily="34" charset="0"/>
            </a:endParaRPr>
          </a:p>
        </p:txBody>
      </p:sp>
      <p:sp>
        <p:nvSpPr>
          <p:cNvPr id="5" name="Slide Number Placeholder 4"/>
          <p:cNvSpPr>
            <a:spLocks noGrp="1"/>
          </p:cNvSpPr>
          <p:nvPr>
            <p:ph type="sldNum" sz="quarter" idx="3"/>
          </p:nvPr>
        </p:nvSpPr>
        <p:spPr>
          <a:xfrm>
            <a:off x="3850294" y="9430814"/>
            <a:ext cx="2945862" cy="495873"/>
          </a:xfrm>
          <a:prstGeom prst="rect">
            <a:avLst/>
          </a:prstGeom>
        </p:spPr>
        <p:txBody>
          <a:bodyPr vert="horz" lIns="90913" tIns="45457" rIns="90913" bIns="45457" rtlCol="0" anchor="b"/>
          <a:lstStyle>
            <a:lvl1pPr algn="r">
              <a:defRPr sz="1100"/>
            </a:lvl1pPr>
          </a:lstStyle>
          <a:p>
            <a:fld id="{9A913F39-CFF6-40F1-84D1-700840B41EAB}"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411"/>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GB" dirty="0"/>
          </a:p>
        </p:txBody>
      </p:sp>
      <p:sp>
        <p:nvSpPr>
          <p:cNvPr id="3" name="Date Placeholder 2"/>
          <p:cNvSpPr>
            <a:spLocks noGrp="1"/>
          </p:cNvSpPr>
          <p:nvPr>
            <p:ph type="dt" idx="1"/>
          </p:nvPr>
        </p:nvSpPr>
        <p:spPr>
          <a:xfrm>
            <a:off x="3850445" y="1"/>
            <a:ext cx="2945659" cy="496411"/>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GB" smtClean="0"/>
              <a:pPr/>
              <a:t>16/07/2018</a:t>
            </a:fld>
            <a:endParaRPr lang="en-GB"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9768" y="4715908"/>
            <a:ext cx="5438140" cy="4467701"/>
          </a:xfrm>
          <a:prstGeom prst="rect">
            <a:avLst/>
          </a:prstGeom>
        </p:spPr>
        <p:txBody>
          <a:bodyPr vert="horz" lIns="98478" tIns="49238" rIns="98478" bIns="49238" rtlCol="0">
            <a:normAutofit/>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6" name="Footer Placeholder 5"/>
          <p:cNvSpPr>
            <a:spLocks noGrp="1"/>
          </p:cNvSpPr>
          <p:nvPr>
            <p:ph type="ftr" sz="quarter" idx="4"/>
          </p:nvPr>
        </p:nvSpPr>
        <p:spPr>
          <a:xfrm>
            <a:off x="0" y="9430092"/>
            <a:ext cx="2945659" cy="496411"/>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50445" y="9430092"/>
            <a:ext cx="2945659" cy="496411"/>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GB" smtClean="0"/>
              <a:pPr/>
              <a:t>‹#›</a:t>
            </a:fld>
            <a:endParaRPr lang="en-GB"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smtClean="0"/>
              <a:t>#[</a:t>
            </a:r>
            <a:r>
              <a:rPr lang="en-GB" dirty="0" err="1" smtClean="0"/>
              <a:t>TitlePage</a:t>
            </a:r>
            <a:r>
              <a:rPr lang="en-GB" dirty="0" smtClean="0"/>
              <a:t>]</a:t>
            </a: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0</a:t>
            </a:fld>
            <a:endParaRPr lang="en-GB" dirty="0"/>
          </a:p>
        </p:txBody>
      </p:sp>
    </p:spTree>
    <p:extLst>
      <p:ext uri="{BB962C8B-B14F-4D97-AF65-F5344CB8AC3E}">
        <p14:creationId xmlns:p14="http://schemas.microsoft.com/office/powerpoint/2010/main" val="16147356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a:t>
            </a:fld>
            <a:endParaRPr lang="en-GB" dirty="0"/>
          </a:p>
        </p:txBody>
      </p:sp>
    </p:spTree>
    <p:extLst>
      <p:ext uri="{BB962C8B-B14F-4D97-AF65-F5344CB8AC3E}">
        <p14:creationId xmlns:p14="http://schemas.microsoft.com/office/powerpoint/2010/main" val="33182472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3</a:t>
            </a:fld>
            <a:endParaRPr lang="en-GB" dirty="0"/>
          </a:p>
        </p:txBody>
      </p:sp>
    </p:spTree>
    <p:extLst>
      <p:ext uri="{BB962C8B-B14F-4D97-AF65-F5344CB8AC3E}">
        <p14:creationId xmlns:p14="http://schemas.microsoft.com/office/powerpoint/2010/main" val="9624925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4</a:t>
            </a:fld>
            <a:endParaRPr lang="en-GB" dirty="0"/>
          </a:p>
        </p:txBody>
      </p:sp>
    </p:spTree>
    <p:extLst>
      <p:ext uri="{BB962C8B-B14F-4D97-AF65-F5344CB8AC3E}">
        <p14:creationId xmlns:p14="http://schemas.microsoft.com/office/powerpoint/2010/main" val="34724080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80511F36-C536-4C54-B977-B78B7729DEEF}" type="slidenum">
              <a:rPr lang="en-GB" smtClean="0"/>
              <a:pPr>
                <a:defRPr/>
              </a:pPr>
              <a:t>6</a:t>
            </a:fld>
            <a:endParaRPr lang="en-GB" dirty="0"/>
          </a:p>
        </p:txBody>
      </p:sp>
    </p:spTree>
    <p:extLst>
      <p:ext uri="{BB962C8B-B14F-4D97-AF65-F5344CB8AC3E}">
        <p14:creationId xmlns:p14="http://schemas.microsoft.com/office/powerpoint/2010/main" val="857286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7</a:t>
            </a:fld>
            <a:endParaRPr lang="en-GB" dirty="0"/>
          </a:p>
        </p:txBody>
      </p:sp>
    </p:spTree>
    <p:extLst>
      <p:ext uri="{BB962C8B-B14F-4D97-AF65-F5344CB8AC3E}">
        <p14:creationId xmlns:p14="http://schemas.microsoft.com/office/powerpoint/2010/main" val="13686061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0F4A2C8-6C88-4E71-83EE-698B9D4FE22F}" type="slidenum">
              <a:rPr lang="en-GB" smtClean="0"/>
              <a:pPr/>
              <a:t>8</a:t>
            </a:fld>
            <a:endParaRPr lang="en-GB" dirty="0"/>
          </a:p>
        </p:txBody>
      </p:sp>
    </p:spTree>
    <p:extLst>
      <p:ext uri="{BB962C8B-B14F-4D97-AF65-F5344CB8AC3E}">
        <p14:creationId xmlns:p14="http://schemas.microsoft.com/office/powerpoint/2010/main" val="4036598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en-GB" dirty="0"/>
          </a:p>
        </p:txBody>
      </p:sp>
      <p:sp>
        <p:nvSpPr>
          <p:cNvPr id="4" name="Pladsholder til slidenummer 3"/>
          <p:cNvSpPr>
            <a:spLocks noGrp="1"/>
          </p:cNvSpPr>
          <p:nvPr>
            <p:ph type="sldNum" sz="quarter" idx="10"/>
          </p:nvPr>
        </p:nvSpPr>
        <p:spPr/>
        <p:txBody>
          <a:bodyPr/>
          <a:lstStyle/>
          <a:p>
            <a:fld id="{C0F4A2C8-6C88-4E71-83EE-698B9D4FE22F}" type="slidenum">
              <a:rPr lang="en-GB" smtClean="0"/>
              <a:pPr/>
              <a:t>9</a:t>
            </a:fld>
            <a:endParaRPr lang="en-GB" dirty="0"/>
          </a:p>
        </p:txBody>
      </p:sp>
    </p:spTree>
    <p:extLst>
      <p:ext uri="{BB962C8B-B14F-4D97-AF65-F5344CB8AC3E}">
        <p14:creationId xmlns:p14="http://schemas.microsoft.com/office/powerpoint/2010/main" val="38813903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Ref idx="1001">
        <a:schemeClr val="bg1"/>
      </p:bgRef>
    </p:bg>
    <p:spTree>
      <p:nvGrpSpPr>
        <p:cNvPr id="1" name=""/>
        <p:cNvGrpSpPr/>
        <p:nvPr/>
      </p:nvGrpSpPr>
      <p:grpSpPr>
        <a:xfrm>
          <a:off x="0" y="0"/>
          <a:ext cx="0" cy="0"/>
          <a:chOff x="0" y="0"/>
          <a:chExt cx="0" cy="0"/>
        </a:xfrm>
      </p:grpSpPr>
      <p:pic>
        <p:nvPicPr>
          <p:cNvPr id="4"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p>
        </p:txBody>
      </p:sp>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tx1"/>
                </a:solidFill>
              </a:defRPr>
            </a:lvl1p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377991" y="5498438"/>
            <a:ext cx="4194009"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p>
        </p:txBody>
      </p:sp>
      <p:sp>
        <p:nvSpPr>
          <p:cNvPr id="10"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6"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5" name="Footer Placeholder 4" hidden="1"/>
          <p:cNvSpPr>
            <a:spLocks noGrp="1"/>
          </p:cNvSpPr>
          <p:nvPr>
            <p:ph type="ftr" sz="quarter" idx="12"/>
          </p:nvPr>
        </p:nvSpPr>
        <p:spPr/>
        <p:txBody>
          <a:bodyPr/>
          <a:lstStyle>
            <a:lvl1pPr>
              <a:defRPr>
                <a:solidFill>
                  <a:schemeClr val="bg1"/>
                </a:solidFill>
              </a:defRPr>
            </a:lvl1pPr>
          </a:lstStyle>
          <a:p>
            <a:r>
              <a:rPr lang="en-GB" smtClean="0"/>
              <a:t>© 2018 Deloitte LLP. Private and Confidential.</a:t>
            </a:r>
            <a:endParaRPr lang="en-GB" dirty="0"/>
          </a:p>
        </p:txBody>
      </p:sp>
    </p:spTree>
    <p:extLst>
      <p:ext uri="{BB962C8B-B14F-4D97-AF65-F5344CB8AC3E}">
        <p14:creationId xmlns:p14="http://schemas.microsoft.com/office/powerpoint/2010/main" val="2104557831"/>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4" name="Footer Placeholder 3"/>
          <p:cNvSpPr>
            <a:spLocks noGrp="1"/>
          </p:cNvSpPr>
          <p:nvPr>
            <p:ph type="ftr" sz="quarter" idx="10"/>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Ref idx="1001">
        <a:schemeClr val="bg1"/>
      </p:bgRef>
    </p:bg>
    <p:spTree>
      <p:nvGrpSpPr>
        <p:cNvPr id="1" name=""/>
        <p:cNvGrpSpPr/>
        <p:nvPr/>
      </p:nvGrpSpPr>
      <p:grpSpPr>
        <a:xfrm>
          <a:off x="0" y="0"/>
          <a:ext cx="0" cy="0"/>
          <a:chOff x="0" y="0"/>
          <a:chExt cx="0" cy="0"/>
        </a:xfrm>
      </p:grpSpPr>
      <p:sp>
        <p:nvSpPr>
          <p:cNvPr id="6"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2" name="Footer Placeholder 1"/>
          <p:cNvSpPr>
            <a:spLocks noGrp="1"/>
          </p:cNvSpPr>
          <p:nvPr>
            <p:ph type="ftr" sz="quarter" idx="11"/>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8868815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1838567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97A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126737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25224867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3" name="Text Placeholder 3"/>
          <p:cNvSpPr>
            <a:spLocks noGrp="1"/>
          </p:cNvSpPr>
          <p:nvPr>
            <p:ph type="body" sz="quarter" idx="10"/>
          </p:nvPr>
        </p:nvSpPr>
        <p:spPr>
          <a:xfrm>
            <a:off x="376238" y="1628774"/>
            <a:ext cx="6958012" cy="4752975"/>
          </a:xfrm>
          <a:prstGeom prst="rect">
            <a:avLst/>
          </a:prstGeom>
        </p:spPr>
        <p:txBody>
          <a:bodyPr>
            <a:normAutofit/>
          </a:bodyPr>
          <a:lstStyle>
            <a:lvl1pPr marL="0" indent="0">
              <a:spcBef>
                <a:spcPts val="3600"/>
              </a:spcBef>
              <a:buFont typeface="Arial" panose="020B0604020202020204" pitchFamily="34" charset="0"/>
              <a:buChar char="​"/>
              <a:defRPr sz="2800">
                <a:solidFill>
                  <a:schemeClr val="tx1"/>
                </a:solidFill>
              </a:defRPr>
            </a:lvl1pPr>
            <a:lvl2pPr marL="0" indent="0">
              <a:defRPr sz="3000">
                <a:solidFill>
                  <a:schemeClr val="bg2"/>
                </a:solidFill>
              </a:defRPr>
            </a:lvl2pPr>
            <a:lvl3pPr marL="0" indent="0">
              <a:buNone/>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smtClean="0"/>
              <a:t>Click to edit Master text styles</a:t>
            </a:r>
          </a:p>
        </p:txBody>
      </p:sp>
      <p:sp>
        <p:nvSpPr>
          <p:cNvPr id="2" name="Footer Placeholder 1"/>
          <p:cNvSpPr>
            <a:spLocks noGrp="1"/>
          </p:cNvSpPr>
          <p:nvPr>
            <p:ph type="ftr" sz="quarter" idx="11"/>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GB" dirty="0" smtClean="0"/>
              <a:t>Click to add title</a:t>
            </a:r>
            <a:endParaRPr lang="en-GB" dirty="0"/>
          </a:p>
        </p:txBody>
      </p:sp>
      <p:sp>
        <p:nvSpPr>
          <p:cNvPr id="2" name="Footer Placeholder 1"/>
          <p:cNvSpPr>
            <a:spLocks noGrp="1"/>
          </p:cNvSpPr>
          <p:nvPr>
            <p:ph type="ftr" sz="quarter" idx="11"/>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5" name="Picture Placeholder 9"/>
          <p:cNvSpPr>
            <a:spLocks noGrp="1"/>
          </p:cNvSpPr>
          <p:nvPr>
            <p:ph type="pic" sz="quarter" idx="15"/>
          </p:nvPr>
        </p:nvSpPr>
        <p:spPr>
          <a:xfrm>
            <a:off x="4087763" y="1701801"/>
            <a:ext cx="4680000" cy="4679950"/>
          </a:xfrm>
        </p:spPr>
        <p:txBody>
          <a:bodyPr/>
          <a:lstStyle/>
          <a:p>
            <a:r>
              <a:rPr lang="en-GB" noProof="0" dirty="0" smtClean="0"/>
              <a:t>Click icon to add picture</a:t>
            </a:r>
            <a:endParaRPr lang="en-GB"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6"/>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GB" noProof="0" dirty="0" smtClean="0"/>
              <a:t>Click to edit Master title style</a:t>
            </a:r>
            <a:endParaRPr lang="en-GB"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10"/>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r>
              <a:rPr lang="en-GB" dirty="0" smtClean="0"/>
              <a:t>© 2018 Deloitte LLP. Private and Confidential.</a:t>
            </a:r>
            <a:endParaRPr lang="en-GB" dirty="0"/>
          </a:p>
        </p:txBody>
      </p:sp>
    </p:spTree>
    <p:extLst>
      <p:ext uri="{BB962C8B-B14F-4D97-AF65-F5344CB8AC3E}">
        <p14:creationId xmlns:p14="http://schemas.microsoft.com/office/powerpoint/2010/main"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GB" noProof="0" dirty="0" smtClean="0"/>
              <a:t>Click icon to add picture</a:t>
            </a:r>
            <a:endParaRPr lang="en-GB" noProof="0" dirty="0"/>
          </a:p>
        </p:txBody>
      </p:sp>
      <p:sp>
        <p:nvSpPr>
          <p:cNvPr id="2" name="SD_LAN_pePresentationTitle"/>
          <p:cNvSpPr>
            <a:spLocks noGrp="1"/>
          </p:cNvSpPr>
          <p:nvPr>
            <p:ph type="ctrTitle" hasCustomPrompt="1"/>
          </p:nvPr>
        </p:nvSpPr>
        <p:spPr bwMode="gray">
          <a:xfrm>
            <a:off x="376238" y="5497200"/>
            <a:ext cx="4194000" cy="324000"/>
          </a:xfrm>
        </p:spPr>
        <p:txBody>
          <a:bodyPr anchor="b" anchorCtr="0">
            <a:noAutofit/>
          </a:bodyPr>
          <a:lstStyle>
            <a:lvl1pPr algn="l">
              <a:lnSpc>
                <a:spcPct val="100000"/>
              </a:lnSpc>
              <a:defRPr sz="1800" b="1">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4000"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p>
        </p:txBody>
      </p:sp>
      <p:sp>
        <p:nvSpPr>
          <p:cNvPr id="8"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2"/>
          </p:nvPr>
        </p:nvSpPr>
        <p:spPr/>
        <p:txBody>
          <a:bodyPr/>
          <a:lstStyle>
            <a:lvl1pPr>
              <a:defRPr>
                <a:solidFill>
                  <a:schemeClr val="bg1"/>
                </a:solidFill>
              </a:defRPr>
            </a:lvl1pPr>
          </a:lstStyle>
          <a:p>
            <a:r>
              <a:rPr lang="en-GB" smtClean="0"/>
              <a:t>© 2018 Deloitte LLP. Private and Confidential.</a:t>
            </a:r>
            <a:endParaRPr lang="en-GB" dirty="0"/>
          </a:p>
        </p:txBody>
      </p:sp>
      <p:sp>
        <p:nvSpPr>
          <p:cNvPr id="11"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3964430626"/>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371762" cy="698501"/>
          </a:xfrm>
          <a:prstGeom prst="rect">
            <a:avLst/>
          </a:prstGeom>
        </p:spPr>
        <p:txBody>
          <a:bodyPr vert="horz" lIns="0" tIns="0" rIns="0" bIns="0" rtlCol="0" anchor="t" anchorCtr="0">
            <a:noAutofit/>
          </a:bodyPr>
          <a:lstStyle>
            <a:lvl1pPr>
              <a:defRPr/>
            </a:lvl1pPr>
          </a:lstStyle>
          <a:p>
            <a:r>
              <a:rPr lang="en-GB" noProof="0" dirty="0" smtClean="0"/>
              <a:t>Click to edit Master title style</a:t>
            </a:r>
            <a:endParaRPr lang="en-GB" noProof="0" dirty="0"/>
          </a:p>
        </p:txBody>
      </p:sp>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r>
              <a:rPr lang="en-GB" dirty="0" smtClean="0"/>
              <a:t>© 2018 Deloitte LLP. Private and Confidential.</a:t>
            </a:r>
            <a:endParaRPr lang="en-GB" dirty="0"/>
          </a:p>
        </p:txBody>
      </p:sp>
    </p:spTree>
    <p:extLst>
      <p:ext uri="{BB962C8B-B14F-4D97-AF65-F5344CB8AC3E}">
        <p14:creationId xmlns:p14="http://schemas.microsoft.com/office/powerpoint/2010/main"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376239" y="1700213"/>
            <a:ext cx="8391524" cy="357187"/>
          </a:xfrm>
        </p:spPr>
        <p:txBody>
          <a:bodyPr/>
          <a:lstStyle/>
          <a:p>
            <a:pPr lvl="0"/>
            <a:r>
              <a:rPr lang="en-GB" noProof="0" dirty="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dirty="0" smtClean="0"/>
              <a:t>© 2018 Deloitte LLP. Private and Confidential.</a:t>
            </a:r>
            <a:endParaRPr lang="en-GB" dirty="0"/>
          </a:p>
        </p:txBody>
      </p:sp>
    </p:spTree>
    <p:extLst>
      <p:ext uri="{BB962C8B-B14F-4D97-AF65-F5344CB8AC3E}">
        <p14:creationId xmlns:p14="http://schemas.microsoft.com/office/powerpoint/2010/main"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6"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GB" noProof="0" dirty="0" smtClean="0"/>
              <a:t>Click icon to add chart</a:t>
            </a:r>
            <a:endParaRPr lang="en-GB"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GB" noProof="0" dirty="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GB" noProof="0" dirty="0" smtClean="0"/>
              <a:t>Click icon to add chart</a:t>
            </a:r>
            <a:endParaRPr lang="en-GB"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GB" noProof="0" dirty="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GB" noProof="0" dirty="0" smtClean="0"/>
              <a:t>Click icon to add chart</a:t>
            </a:r>
            <a:endParaRPr lang="en-GB"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GB" noProof="0" dirty="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dirty="0" smtClean="0"/>
              <a:t>© 2018 Deloitte LLP. Private and Confidential.</a:t>
            </a:r>
            <a:endParaRPr lang="en-GB" dirty="0"/>
          </a:p>
        </p:txBody>
      </p:sp>
    </p:spTree>
    <p:extLst>
      <p:ext uri="{BB962C8B-B14F-4D97-AF65-F5344CB8AC3E}">
        <p14:creationId xmlns:p14="http://schemas.microsoft.com/office/powerpoint/2010/main"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8" name="Title Placeholder 1"/>
          <p:cNvSpPr>
            <a:spLocks noGrp="1"/>
          </p:cNvSpPr>
          <p:nvPr>
            <p:ph type="title" hasCustomPrompt="1"/>
          </p:nvPr>
        </p:nvSpPr>
        <p:spPr>
          <a:xfrm>
            <a:off x="376237" y="317500"/>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21"/>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Chart Placeholder 2"/>
          <p:cNvSpPr>
            <a:spLocks noGrp="1"/>
          </p:cNvSpPr>
          <p:nvPr>
            <p:ph type="chart" sz="quarter" idx="21"/>
          </p:nvPr>
        </p:nvSpPr>
        <p:spPr>
          <a:xfrm>
            <a:off x="4755917" y="2125013"/>
            <a:ext cx="4011846" cy="399600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GB" noProof="0" dirty="0" smtClean="0"/>
              <a:t>Click to edit Master text styles</a:t>
            </a:r>
          </a:p>
        </p:txBody>
      </p:sp>
      <p:sp>
        <p:nvSpPr>
          <p:cNvPr id="15" name="Text Placeholder 7"/>
          <p:cNvSpPr>
            <a:spLocks noGrp="1"/>
          </p:cNvSpPr>
          <p:nvPr>
            <p:ph type="body" sz="quarter" idx="23"/>
          </p:nvPr>
        </p:nvSpPr>
        <p:spPr>
          <a:xfrm>
            <a:off x="376237" y="6121013"/>
            <a:ext cx="8391525" cy="260737"/>
          </a:xfrm>
        </p:spPr>
        <p:txBody>
          <a:bodyPr>
            <a:noAutofit/>
          </a:bodyPr>
          <a:lstStyle>
            <a:lvl1pPr>
              <a:spcAft>
                <a:spcPts val="0"/>
              </a:spcAft>
              <a:defRPr sz="900"/>
            </a:lvl1pPr>
          </a:lstStyle>
          <a:p>
            <a:pPr lvl="0"/>
            <a:r>
              <a:rPr lang="en-GB" noProof="0" dirty="0" smtClean="0"/>
              <a:t>Click to edit Master text styles</a:t>
            </a:r>
          </a:p>
        </p:txBody>
      </p:sp>
      <p:sp>
        <p:nvSpPr>
          <p:cNvPr id="2" name="Footer Placeholder 1"/>
          <p:cNvSpPr>
            <a:spLocks noGrp="1"/>
          </p:cNvSpPr>
          <p:nvPr>
            <p:ph type="ftr" sz="quarter" idx="24"/>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13"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3" name="Chart Placeholder 2"/>
          <p:cNvSpPr>
            <a:spLocks noGrp="1"/>
          </p:cNvSpPr>
          <p:nvPr>
            <p:ph type="chart" sz="quarter" idx="21"/>
          </p:nvPr>
        </p:nvSpPr>
        <p:spPr>
          <a:xfrm>
            <a:off x="4755915" y="2125013"/>
            <a:ext cx="4011847" cy="3996000"/>
          </a:xfrm>
        </p:spPr>
        <p:txBody>
          <a:bodyPr/>
          <a:lstStyle/>
          <a:p>
            <a:r>
              <a:rPr lang="en-GB" noProof="0" dirty="0" smtClean="0"/>
              <a:t>Click icon to add chart</a:t>
            </a:r>
            <a:endParaRPr lang="en-GB"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GB" noProof="0" dirty="0" smtClean="0"/>
              <a:t>Click to edit Master text styles</a:t>
            </a:r>
          </a:p>
        </p:txBody>
      </p:sp>
      <p:sp>
        <p:nvSpPr>
          <p:cNvPr id="15"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GB" noProof="0" dirty="0"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GB" noProof="0" dirty="0" smtClean="0"/>
              <a:t>Click icon to add chart</a:t>
            </a:r>
            <a:endParaRPr lang="en-GB"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GB" noProof="0" dirty="0" smtClean="0"/>
              <a:t>Click to edit Master text styles</a:t>
            </a:r>
          </a:p>
        </p:txBody>
      </p:sp>
      <p:sp>
        <p:nvSpPr>
          <p:cNvPr id="2" name="Footer Placeholder 1"/>
          <p:cNvSpPr>
            <a:spLocks noGrp="1"/>
          </p:cNvSpPr>
          <p:nvPr>
            <p:ph type="ftr" sz="quarter" idx="26"/>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7"/>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698500"/>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7"/>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smtClean="0"/>
              <a:t>Click to edit Master title style</a:t>
            </a:r>
            <a:endParaRPr lang="en-GB"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GB" noProof="0" dirty="0" smtClean="0"/>
              <a:t>Click icon to add picture</a:t>
            </a:r>
            <a:endParaRPr lang="en-GB"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GB" noProof="0" dirty="0" smtClean="0"/>
              <a:t>Click icon to add picture</a:t>
            </a:r>
            <a:endParaRPr lang="en-GB"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GB" noProof="0" dirty="0" smtClean="0"/>
              <a:t>Click icon to add picture</a:t>
            </a:r>
            <a:endParaRPr lang="en-GB"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GB" noProof="0" dirty="0" smtClean="0"/>
              <a:t>Click icon to add picture</a:t>
            </a:r>
            <a:endParaRPr lang="en-GB"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Font typeface="Arial" panose="020B0604020202020204" pitchFamily="34" charset="0"/>
              <a:buChar char="​"/>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2"/>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Ref idx="1001">
        <a:schemeClr val="bg1"/>
      </p:bgRef>
    </p:bg>
    <p:spTree>
      <p:nvGrpSpPr>
        <p:cNvPr id="1" name=""/>
        <p:cNvGrpSpPr/>
        <p:nvPr/>
      </p:nvGrpSpPr>
      <p:grpSpPr>
        <a:xfrm>
          <a:off x="0" y="0"/>
          <a:ext cx="0" cy="0"/>
          <a:chOff x="0" y="0"/>
          <a:chExt cx="0" cy="0"/>
        </a:xfrm>
      </p:grpSpPr>
      <p:pic>
        <p:nvPicPr>
          <p:cNvPr id="22" name="Background 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SD_LAN_pePresentation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7992" y="5864229"/>
            <a:ext cx="4194008"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p>
        </p:txBody>
      </p:sp>
      <p:sp>
        <p:nvSpPr>
          <p:cNvPr id="8" name="SD_ART_Logo_White"/>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5" name="SD_ART_Logo_White_bmkArt"/>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1"/>
          </p:nvPr>
        </p:nvSpPr>
        <p:spPr/>
        <p:txBody>
          <a:bodyPr/>
          <a:lstStyle>
            <a:lvl1pPr>
              <a:defRPr>
                <a:solidFill>
                  <a:schemeClr val="bg1"/>
                </a:solidFill>
              </a:defRPr>
            </a:lvl1pPr>
          </a:lstStyle>
          <a:p>
            <a:r>
              <a:rPr lang="en-GB" smtClean="0"/>
              <a:t>© 2018 Deloitte LLP. Private and Confidential.</a:t>
            </a:r>
            <a:endParaRPr lang="en-GB" dirty="0"/>
          </a:p>
        </p:txBody>
      </p:sp>
      <p:sp>
        <p:nvSpPr>
          <p:cNvPr id="10"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239974990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698500"/>
          </a:xfrm>
        </p:spPr>
        <p:txBody>
          <a:bodyPr/>
          <a:lstStyle/>
          <a:p>
            <a:r>
              <a:rPr lang="en-GB" noProof="0" dirty="0" smtClean="0"/>
              <a:t>Click to edit Master title style</a:t>
            </a:r>
            <a:endParaRPr lang="en-GB" noProof="0" dirty="0"/>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GB" noProof="0" dirty="0" smtClean="0"/>
              <a:t>Click icon to add picture</a:t>
            </a:r>
            <a:endParaRPr lang="en-GB"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GB" noProof="0" dirty="0" smtClean="0"/>
              <a:t>Click icon to add picture</a:t>
            </a:r>
            <a:endParaRPr lang="en-GB"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GB" noProof="0" dirty="0" smtClean="0"/>
              <a:t>Click icon to add picture</a:t>
            </a:r>
            <a:endParaRPr lang="en-GB"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GB" noProof="0" dirty="0" smtClean="0"/>
              <a:t>Click icon to add picture</a:t>
            </a:r>
            <a:endParaRPr lang="en-GB"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GB" noProof="0" dirty="0" smtClean="0"/>
              <a:t>Click to edit Master text styles</a:t>
            </a:r>
          </a:p>
          <a:p>
            <a:pPr lvl="1"/>
            <a:r>
              <a:rPr lang="en-GB" noProof="0" dirty="0" smtClean="0"/>
              <a:t>Second level</a:t>
            </a:r>
          </a:p>
        </p:txBody>
      </p:sp>
      <p:sp>
        <p:nvSpPr>
          <p:cNvPr id="3" name="Footer Placeholder 2"/>
          <p:cNvSpPr>
            <a:spLocks noGrp="1"/>
          </p:cNvSpPr>
          <p:nvPr>
            <p:ph type="ftr" sz="quarter" idx="36"/>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smtClean="0"/>
              <a:t>Click to edit Master title style</a:t>
            </a:r>
            <a:endParaRPr lang="en-GB" noProof="0" dirty="0"/>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Picture Placeholder 7"/>
          <p:cNvSpPr>
            <a:spLocks noGrp="1"/>
          </p:cNvSpPr>
          <p:nvPr>
            <p:ph type="pic" sz="quarter" idx="13"/>
          </p:nvPr>
        </p:nvSpPr>
        <p:spPr>
          <a:xfrm>
            <a:off x="376238" y="1700213"/>
            <a:ext cx="2771775" cy="1971675"/>
          </a:xfrm>
        </p:spPr>
        <p:txBody>
          <a:bodyPr/>
          <a:lstStyle/>
          <a:p>
            <a:r>
              <a:rPr lang="en-GB" noProof="0" dirty="0" smtClean="0"/>
              <a:t>Click icon to add picture</a:t>
            </a:r>
            <a:endParaRPr lang="en-GB" noProof="0" dirty="0"/>
          </a:p>
        </p:txBody>
      </p:sp>
      <p:sp>
        <p:nvSpPr>
          <p:cNvPr id="5" name="Picture Placeholder 7"/>
          <p:cNvSpPr>
            <a:spLocks noGrp="1"/>
          </p:cNvSpPr>
          <p:nvPr>
            <p:ph type="pic" sz="quarter" idx="14"/>
          </p:nvPr>
        </p:nvSpPr>
        <p:spPr>
          <a:xfrm>
            <a:off x="6004798" y="1700213"/>
            <a:ext cx="2762965" cy="1971675"/>
          </a:xfrm>
        </p:spPr>
        <p:txBody>
          <a:bodyPr/>
          <a:lstStyle/>
          <a:p>
            <a:r>
              <a:rPr lang="en-GB" noProof="0" dirty="0" smtClean="0"/>
              <a:t>Click icon to add picture</a:t>
            </a:r>
            <a:endParaRPr lang="en-GB" noProof="0" dirty="0"/>
          </a:p>
        </p:txBody>
      </p:sp>
      <p:sp>
        <p:nvSpPr>
          <p:cNvPr id="6" name="Picture Placeholder 7"/>
          <p:cNvSpPr>
            <a:spLocks noGrp="1"/>
          </p:cNvSpPr>
          <p:nvPr>
            <p:ph type="pic" sz="quarter" idx="15"/>
          </p:nvPr>
        </p:nvSpPr>
        <p:spPr>
          <a:xfrm>
            <a:off x="3204806" y="1700213"/>
            <a:ext cx="2743200" cy="1971675"/>
          </a:xfrm>
        </p:spPr>
        <p:txBody>
          <a:bodyPr/>
          <a:lstStyle/>
          <a:p>
            <a:r>
              <a:rPr lang="en-GB" noProof="0" dirty="0" smtClean="0"/>
              <a:t>Click icon to add picture</a:t>
            </a:r>
            <a:endParaRPr lang="en-GB"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19"/>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1"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 name="Footer Placeholder 1"/>
          <p:cNvSpPr>
            <a:spLocks noGrp="1"/>
          </p:cNvSpPr>
          <p:nvPr>
            <p:ph type="ftr" sz="quarter" idx="14"/>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499"/>
          </a:xfrm>
        </p:spPr>
        <p:txBody>
          <a:body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0" name="Content Placeholder 9"/>
          <p:cNvSpPr>
            <a:spLocks noGrp="1"/>
          </p:cNvSpPr>
          <p:nvPr>
            <p:ph sz="quarter" idx="22" hasCustomPrompt="1"/>
          </p:nvPr>
        </p:nvSpPr>
        <p:spPr>
          <a:xfrm>
            <a:off x="3570548" y="1857892"/>
            <a:ext cx="907570" cy="670658"/>
          </a:xfrm>
        </p:spPr>
        <p:txBody>
          <a:bodyPr>
            <a:noAutofit/>
          </a:bodyPr>
          <a:lstStyle>
            <a:lvl1pPr algn="ctr">
              <a:defRPr sz="800" baseline="0"/>
            </a:lvl1pPr>
          </a:lstStyle>
          <a:p>
            <a:pPr lvl="0"/>
            <a:r>
              <a:rPr lang="en-GB" dirty="0" smtClean="0"/>
              <a:t>Click here, go to INSERT tab and choose Pictures to insert Co-brand Logo</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2" name="Content Placeholder 9"/>
          <p:cNvSpPr>
            <a:spLocks noGrp="1"/>
          </p:cNvSpPr>
          <p:nvPr>
            <p:ph sz="quarter" idx="23" hasCustomPrompt="1"/>
          </p:nvPr>
        </p:nvSpPr>
        <p:spPr>
          <a:xfrm>
            <a:off x="7860192" y="1857892"/>
            <a:ext cx="907570" cy="670658"/>
          </a:xfrm>
        </p:spPr>
        <p:txBody>
          <a:bodyPr>
            <a:noAutofit/>
          </a:bodyPr>
          <a:lstStyle>
            <a:lvl1pPr algn="ctr">
              <a:defRPr sz="800" baseline="0"/>
            </a:lvl1pPr>
          </a:lstStyle>
          <a:p>
            <a:pPr lvl="0"/>
            <a:r>
              <a:rPr lang="en-GB" dirty="0" smtClean="0"/>
              <a:t>Click here, go to INSERT tab and choose Pictures to insert Co-brand Logo</a:t>
            </a:r>
          </a:p>
        </p:txBody>
      </p:sp>
      <p:sp>
        <p:nvSpPr>
          <p:cNvPr id="6" name="Footer Placeholder 5"/>
          <p:cNvSpPr>
            <a:spLocks noGrp="1"/>
          </p:cNvSpPr>
          <p:nvPr>
            <p:ph type="ftr" sz="quarter" idx="24"/>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7888"/>
          </a:xfrm>
        </p:spPr>
        <p:txBody>
          <a:bodyPr/>
          <a:lstStyle/>
          <a:p>
            <a:r>
              <a:rPr lang="en-GB" noProof="0" dirty="0" smtClean="0"/>
              <a:t>Click to edit Master title style</a:t>
            </a:r>
            <a:endParaRPr lang="en-GB"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27"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8"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5" name="Text Placeholder 8"/>
          <p:cNvSpPr>
            <a:spLocks noGrp="1"/>
          </p:cNvSpPr>
          <p:nvPr>
            <p:ph type="body" sz="quarter" idx="30"/>
          </p:nvPr>
        </p:nvSpPr>
        <p:spPr>
          <a:xfrm>
            <a:off x="378000" y="4253374"/>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6" name="Text Placeholder 8"/>
          <p:cNvSpPr>
            <a:spLocks noGrp="1"/>
          </p:cNvSpPr>
          <p:nvPr>
            <p:ph type="body" sz="quarter" idx="31"/>
          </p:nvPr>
        </p:nvSpPr>
        <p:spPr>
          <a:xfrm>
            <a:off x="4684646" y="4253374"/>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8" name="Content Placeholder 9"/>
          <p:cNvSpPr>
            <a:spLocks noGrp="1"/>
          </p:cNvSpPr>
          <p:nvPr>
            <p:ph sz="quarter" idx="26" hasCustomPrompt="1"/>
          </p:nvPr>
        </p:nvSpPr>
        <p:spPr>
          <a:xfrm>
            <a:off x="3570548" y="185789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0" name="Content Placeholder 9"/>
          <p:cNvSpPr>
            <a:spLocks noGrp="1"/>
          </p:cNvSpPr>
          <p:nvPr>
            <p:ph sz="quarter" idx="27" hasCustomPrompt="1"/>
          </p:nvPr>
        </p:nvSpPr>
        <p:spPr>
          <a:xfrm>
            <a:off x="7860192" y="185789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1" name="Content Placeholder 9"/>
          <p:cNvSpPr>
            <a:spLocks noGrp="1"/>
          </p:cNvSpPr>
          <p:nvPr>
            <p:ph sz="quarter" idx="28" hasCustomPrompt="1"/>
          </p:nvPr>
        </p:nvSpPr>
        <p:spPr>
          <a:xfrm>
            <a:off x="3565870" y="424968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22" name="Content Placeholder 9"/>
          <p:cNvSpPr>
            <a:spLocks noGrp="1"/>
          </p:cNvSpPr>
          <p:nvPr>
            <p:ph sz="quarter" idx="29" hasCustomPrompt="1"/>
          </p:nvPr>
        </p:nvSpPr>
        <p:spPr>
          <a:xfrm>
            <a:off x="7855514" y="4249682"/>
            <a:ext cx="907570" cy="670658"/>
          </a:xfrm>
        </p:spPr>
        <p:txBody>
          <a:bodyPr>
            <a:noAutofit/>
          </a:bodyPr>
          <a:lstStyle>
            <a:lvl1pPr algn="ctr">
              <a:buNone/>
              <a:defRPr sz="800" baseline="0"/>
            </a:lvl1pPr>
          </a:lstStyle>
          <a:p>
            <a:pPr lvl="0"/>
            <a:r>
              <a:rPr lang="en-GB" dirty="0" smtClean="0"/>
              <a:t>Click here, go to INSERT tab and choose Pictures to insert Co-brand Logo</a:t>
            </a:r>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3" name="Footer Placeholder 2"/>
          <p:cNvSpPr>
            <a:spLocks noGrp="1"/>
          </p:cNvSpPr>
          <p:nvPr>
            <p:ph type="ftr" sz="quarter" idx="32"/>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8" name="Text Placeholder 8"/>
          <p:cNvSpPr>
            <a:spLocks noGrp="1"/>
          </p:cNvSpPr>
          <p:nvPr>
            <p:ph type="body" sz="quarter" idx="18"/>
          </p:nvPr>
        </p:nvSpPr>
        <p:spPr>
          <a:xfrm>
            <a:off x="378000" y="1851441"/>
            <a:ext cx="2670000"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9" name="Text Placeholder 8"/>
          <p:cNvSpPr>
            <a:spLocks noGrp="1"/>
          </p:cNvSpPr>
          <p:nvPr>
            <p:ph type="body" sz="quarter" idx="19"/>
          </p:nvPr>
        </p:nvSpPr>
        <p:spPr>
          <a:xfrm>
            <a:off x="6095999" y="1851441"/>
            <a:ext cx="2678365" cy="3845754"/>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0"/>
          </p:nvPr>
        </p:nvSpPr>
        <p:spPr/>
        <p:txBody>
          <a:bodyPr/>
          <a:lstStyle/>
          <a:p>
            <a:r>
              <a:rPr lang="en-GB" dirty="0" smtClean="0"/>
              <a:t>© 2018 Deloitte LLP. Private and Confidential.</a:t>
            </a:r>
            <a:endParaRPr lang="en-GB" dirty="0"/>
          </a:p>
        </p:txBody>
      </p:sp>
    </p:spTree>
    <p:extLst>
      <p:ext uri="{BB962C8B-B14F-4D97-AF65-F5344CB8AC3E}">
        <p14:creationId xmlns:p14="http://schemas.microsoft.com/office/powerpoint/2010/main"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705184"/>
          </a:xfrm>
        </p:spPr>
        <p:txBody>
          <a:bodyPr/>
          <a:lstStyle/>
          <a:p>
            <a:r>
              <a:rPr lang="en-GB" noProof="0" dirty="0" smtClean="0"/>
              <a:t>Click to edit Master title style</a:t>
            </a:r>
            <a:endParaRPr lang="en-GB"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6822627"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526209"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4674418" y="2556000"/>
            <a:ext cx="1944000" cy="3394800"/>
          </a:xfrm>
        </p:spPr>
        <p:txBody>
          <a:bodyPr/>
          <a:lstStyle>
            <a:lvl1pPr marL="0" indent="0">
              <a:buFont typeface="Arial" panose="020B0604020202020204" pitchFamily="34" charset="0"/>
              <a:buChar char="​"/>
              <a:defRPr b="1">
                <a:solidFill>
                  <a:schemeClr val="accent1"/>
                </a:solidFill>
              </a:defRPr>
            </a:lvl1pPr>
            <a:lvl2pPr marL="0" indent="0">
              <a:spcAft>
                <a:spcPts val="1000"/>
              </a:spcAft>
              <a:buFont typeface="Arial" panose="020B0604020202020204" pitchFamily="34" charset="0"/>
              <a:buChar char="​"/>
              <a:defRPr/>
            </a:lvl2pPr>
            <a:lvl3pPr marL="0" indent="0">
              <a:spcAft>
                <a:spcPts val="1000"/>
              </a:spcAft>
              <a:buFont typeface="Arial" panose="020B060402020202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 name="Footer Placeholder 2"/>
          <p:cNvSpPr>
            <a:spLocks noGrp="1"/>
          </p:cNvSpPr>
          <p:nvPr>
            <p:ph type="ftr" sz="quarter" idx="21"/>
          </p:nvPr>
        </p:nvSpPr>
        <p:spPr/>
        <p:txBody>
          <a:bodyPr/>
          <a:lstStyle/>
          <a:p>
            <a:r>
              <a:rPr lang="en-GB" dirty="0" smtClean="0"/>
              <a:t>© 2018 Deloitte LLP. Private and Confidential.</a:t>
            </a:r>
            <a:endParaRPr lang="en-GB" dirty="0"/>
          </a:p>
        </p:txBody>
      </p:sp>
    </p:spTree>
    <p:extLst>
      <p:ext uri="{BB962C8B-B14F-4D97-AF65-F5344CB8AC3E}">
        <p14:creationId xmlns:p14="http://schemas.microsoft.com/office/powerpoint/2010/main"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Ref idx="1001">
        <a:schemeClr val="bg1"/>
      </p:bgRef>
    </p:bg>
    <p:spTree>
      <p:nvGrpSpPr>
        <p:cNvPr id="1" name=""/>
        <p:cNvGrpSpPr/>
        <p:nvPr/>
      </p:nvGrpSpPr>
      <p:grpSpPr>
        <a:xfrm>
          <a:off x="0" y="0"/>
          <a:ext cx="0" cy="0"/>
          <a:chOff x="0" y="0"/>
          <a:chExt cx="0" cy="0"/>
        </a:xfrm>
      </p:grpSpPr>
      <p:sp>
        <p:nvSpPr>
          <p:cNvPr id="11"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tx1"/>
              </a:solidFill>
            </a:endParaRPr>
          </a:p>
        </p:txBody>
      </p:sp>
      <p:sp>
        <p:nvSpPr>
          <p:cNvPr id="2" name="Title 1"/>
          <p:cNvSpPr>
            <a:spLocks noGrp="1"/>
          </p:cNvSpPr>
          <p:nvPr>
            <p:ph type="title"/>
          </p:nvPr>
        </p:nvSpPr>
        <p:spPr>
          <a:xfrm>
            <a:off x="376237" y="317500"/>
            <a:ext cx="8391526" cy="789405"/>
          </a:xfrm>
        </p:spPr>
        <p:txBody>
          <a:bodyPr/>
          <a:lstStyle>
            <a:lvl1pPr>
              <a:defRPr>
                <a:solidFill>
                  <a:schemeClr val="tx1"/>
                </a:solidFill>
              </a:defRPr>
            </a:lvl1pPr>
          </a:lstStyle>
          <a:p>
            <a:r>
              <a:rPr lang="en-GB" noProof="0" dirty="0" smtClean="0"/>
              <a:t>Click to edit Master title style</a:t>
            </a:r>
            <a:endParaRPr lang="en-GB"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tx1"/>
                </a:solidFill>
              </a:defRPr>
            </a:lvl1pPr>
          </a:lstStyle>
          <a:p>
            <a:pPr lvl="0"/>
            <a:r>
              <a:rPr lang="en-GB" noProof="0" dirty="0" smtClean="0"/>
              <a:t>Click to add subtitle</a:t>
            </a:r>
            <a:endParaRPr lang="en-GB" noProof="0" dirty="0"/>
          </a:p>
        </p:txBody>
      </p:sp>
      <p:sp>
        <p:nvSpPr>
          <p:cNvPr id="4" name="Text Placeholder 8"/>
          <p:cNvSpPr>
            <a:spLocks noGrp="1"/>
          </p:cNvSpPr>
          <p:nvPr>
            <p:ph type="body" sz="quarter" idx="17"/>
          </p:nvPr>
        </p:nvSpPr>
        <p:spPr>
          <a:xfrm>
            <a:off x="378000"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5" name="Text Placeholder 8"/>
          <p:cNvSpPr>
            <a:spLocks noGrp="1"/>
          </p:cNvSpPr>
          <p:nvPr>
            <p:ph type="body" sz="quarter" idx="18"/>
          </p:nvPr>
        </p:nvSpPr>
        <p:spPr>
          <a:xfrm>
            <a:off x="6825564"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6" name="Text Placeholder 8"/>
          <p:cNvSpPr>
            <a:spLocks noGrp="1"/>
          </p:cNvSpPr>
          <p:nvPr>
            <p:ph type="body" sz="quarter" idx="19"/>
          </p:nvPr>
        </p:nvSpPr>
        <p:spPr>
          <a:xfrm>
            <a:off x="2527188"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7" name="Text Placeholder 8"/>
          <p:cNvSpPr>
            <a:spLocks noGrp="1"/>
          </p:cNvSpPr>
          <p:nvPr>
            <p:ph type="body" sz="quarter" idx="20"/>
          </p:nvPr>
        </p:nvSpPr>
        <p:spPr>
          <a:xfrm>
            <a:off x="4676376" y="2556000"/>
            <a:ext cx="1944000" cy="3394800"/>
          </a:xfrm>
        </p:spPr>
        <p:txBody>
          <a:bodyPr/>
          <a:lstStyle>
            <a:lvl1pPr marL="0" indent="0">
              <a:buFont typeface="Arial" panose="020B0604020202020204" pitchFamily="34" charset="0"/>
              <a:buChar char="​"/>
              <a:defRPr b="1">
                <a:solidFill>
                  <a:schemeClr val="tx1"/>
                </a:solidFill>
              </a:defRPr>
            </a:lvl1pPr>
            <a:lvl2pPr marL="0" indent="0">
              <a:spcAft>
                <a:spcPts val="1000"/>
              </a:spcAft>
              <a:buFont typeface="Arial" panose="020B0604020202020204" pitchFamily="34" charset="0"/>
              <a:buChar char="​"/>
              <a:defRPr>
                <a:solidFill>
                  <a:schemeClr val="tx1"/>
                </a:solidFill>
              </a:defRPr>
            </a:lvl2pPr>
            <a:lvl3pPr marL="0" indent="0">
              <a:spcAft>
                <a:spcPts val="1000"/>
              </a:spcAft>
              <a:buFont typeface="Arial" panose="020B0604020202020204" pitchFamily="34" charset="0"/>
              <a:buChar char="​"/>
              <a:defRPr>
                <a:solidFill>
                  <a:schemeClr val="tx1"/>
                </a:solidFill>
              </a:defRPr>
            </a:lvl3pPr>
            <a:lvl4pPr marL="176400" indent="-176400">
              <a:spcAft>
                <a:spcPts val="1000"/>
              </a:spcAft>
              <a:buFont typeface="Arial" panose="020B0604020202020204" pitchFamily="34" charset="0"/>
              <a:buChar char="•"/>
              <a:defRPr>
                <a:solidFill>
                  <a:schemeClr val="tx1"/>
                </a:solidFill>
              </a:defRPr>
            </a:lvl4pPr>
            <a:lvl5pPr marL="356400" indent="-176400">
              <a:spcAft>
                <a:spcPts val="1000"/>
              </a:spcAft>
              <a:defRPr baseline="0">
                <a:solidFill>
                  <a:schemeClr val="tx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3" name="Footer Placeholder 2"/>
          <p:cNvSpPr>
            <a:spLocks noGrp="1"/>
          </p:cNvSpPr>
          <p:nvPr>
            <p:ph type="ftr" sz="quarter" idx="21"/>
          </p:nvPr>
        </p:nvSpPr>
        <p:spPr/>
        <p:txBody>
          <a:bodyPr/>
          <a:lstStyle/>
          <a:p>
            <a:r>
              <a:rPr lang="en-GB" dirty="0" smtClean="0"/>
              <a:t>© 2018 Deloitte LLP. Private and Confidential.</a:t>
            </a:r>
            <a:endParaRPr lang="en-GB" dirty="0"/>
          </a:p>
        </p:txBody>
      </p:sp>
    </p:spTree>
    <p:extLst>
      <p:ext uri="{BB962C8B-B14F-4D97-AF65-F5344CB8AC3E}">
        <p14:creationId xmlns:p14="http://schemas.microsoft.com/office/powerpoint/2010/main" val="4044370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9" name="Title Placeholder 1"/>
          <p:cNvSpPr>
            <a:spLocks noGrp="1"/>
          </p:cNvSpPr>
          <p:nvPr>
            <p:ph type="title" hasCustomPrompt="1"/>
          </p:nvPr>
        </p:nvSpPr>
        <p:spPr>
          <a:xfrm>
            <a:off x="376237" y="317499"/>
            <a:ext cx="8391525" cy="698501"/>
          </a:xfrm>
          <a:prstGeom prst="rect">
            <a:avLst/>
          </a:prstGeom>
        </p:spPr>
        <p:txBody>
          <a:bodyPr vert="horz" lIns="0" tIns="0" rIns="0" bIns="0" rtlCol="0" anchor="t" anchorCtr="0">
            <a:noAutofit/>
          </a:bodyPr>
          <a:lstStyle>
            <a:lvl1pPr>
              <a:defRPr/>
            </a:lvl1pPr>
          </a:lstStyle>
          <a:p>
            <a:r>
              <a:rPr lang="en-GB" noProof="0" dirty="0" smtClean="0"/>
              <a:t>Click to add title</a:t>
            </a:r>
            <a:endParaRPr lang="en-GB"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GB" noProof="0" dirty="0" smtClean="0"/>
              <a:t>Click to add subtitle</a:t>
            </a:r>
            <a:endParaRPr lang="en-GB" noProof="0" dirty="0"/>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 name="Footer Placeholder 1"/>
          <p:cNvSpPr>
            <a:spLocks noGrp="1"/>
          </p:cNvSpPr>
          <p:nvPr>
            <p:ph type="ftr" sz="quarter" idx="14"/>
          </p:nvPr>
        </p:nvSpPr>
        <p:spPr/>
        <p:txBody>
          <a:bodyPr/>
          <a:lstStyle/>
          <a:p>
            <a:r>
              <a:rPr lang="en-GB" dirty="0" smtClean="0"/>
              <a:t>© 2018 Deloitte LLP. Private and Confidential.</a:t>
            </a:r>
            <a:endParaRPr lang="en-GB" dirty="0"/>
          </a:p>
        </p:txBody>
      </p:sp>
    </p:spTree>
    <p:extLst>
      <p:ext uri="{BB962C8B-B14F-4D97-AF65-F5344CB8AC3E}">
        <p14:creationId xmlns:p14="http://schemas.microsoft.com/office/powerpoint/2010/main"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smtClean="0"/>
              <a:t>Click to edit Master title style</a:t>
            </a:r>
            <a:endParaRPr lang="en-GB" noProof="0" dirty="0"/>
          </a:p>
        </p:txBody>
      </p:sp>
      <p:sp>
        <p:nvSpPr>
          <p:cNvPr id="3" name="Footer Placeholder 2"/>
          <p:cNvSpPr>
            <a:spLocks noGrp="1"/>
          </p:cNvSpPr>
          <p:nvPr>
            <p:ph type="ftr" sz="quarter" idx="10"/>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SD_LAN_pePresentationTitle"/>
          <p:cNvSpPr>
            <a:spLocks noGrp="1"/>
          </p:cNvSpPr>
          <p:nvPr>
            <p:ph type="ctrTitle" hasCustomPrompt="1"/>
          </p:nvPr>
        </p:nvSpPr>
        <p:spPr bwMode="gray">
          <a:xfrm>
            <a:off x="2502000" y="1368000"/>
            <a:ext cx="4140000" cy="4140000"/>
          </a:xfrm>
          <a:prstGeom prst="ellipse">
            <a:avLst/>
          </a:prstGeom>
          <a:ln w="25400">
            <a:solidFill>
              <a:schemeClr val="accent1"/>
            </a:solidFill>
          </a:ln>
        </p:spPr>
        <p:txBody>
          <a:bodyPr lIns="0" tIns="0" rIns="0" bIns="0" anchor="ctr" anchorCtr="0">
            <a:normAutofit/>
          </a:bodyPr>
          <a:lstStyle>
            <a:lvl1pPr algn="ctr">
              <a:lnSpc>
                <a:spcPts val="4200"/>
              </a:lnSpc>
              <a:defRPr sz="3600" b="0">
                <a:solidFill>
                  <a:schemeClr val="tx1"/>
                </a:solidFill>
                <a:latin typeface="+mj-lt"/>
                <a:ea typeface="Open Sans" panose="020B0606030504020204" pitchFamily="34" charset="0"/>
                <a:cs typeface="Arial" panose="020B0604020202020204" pitchFamily="34" charset="0"/>
              </a:defRPr>
            </a:lvl1pPr>
          </a:lstStyle>
          <a:p>
            <a:r>
              <a:rPr lang="en-GB" dirty="0" smtClean="0"/>
              <a:t>Presentation title runs here</a:t>
            </a:r>
            <a:endParaRPr lang="en-GB" noProof="0" dirty="0"/>
          </a:p>
        </p:txBody>
      </p:sp>
      <p:sp>
        <p:nvSpPr>
          <p:cNvPr id="3" name="SD_LAN_pePresentationSubtitle"/>
          <p:cNvSpPr>
            <a:spLocks noGrp="1"/>
          </p:cNvSpPr>
          <p:nvPr>
            <p:ph type="subTitle" idx="1" hasCustomPrompt="1"/>
          </p:nvPr>
        </p:nvSpPr>
        <p:spPr bwMode="gray">
          <a:xfrm>
            <a:off x="376238" y="5864229"/>
            <a:ext cx="4195761" cy="505645"/>
          </a:xfrm>
          <a:prstGeom prst="rect">
            <a:avLst/>
          </a:prstGeom>
        </p:spPr>
        <p:txBody>
          <a:bodyPr lIns="0" tIns="0" rIns="0" bIns="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lvl="0"/>
            <a:r>
              <a:rPr lang="en-GB" dirty="0" smtClean="0"/>
              <a:t>Subtitle here two lines max</a:t>
            </a:r>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5"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hidden="1"/>
          <p:cNvSpPr>
            <a:spLocks noGrp="1"/>
          </p:cNvSpPr>
          <p:nvPr>
            <p:ph type="ftr" sz="quarter" idx="11"/>
          </p:nvPr>
        </p:nvSpPr>
        <p:spPr/>
        <p:txBody>
          <a:bodyPr/>
          <a:lstStyle>
            <a:lvl1pPr>
              <a:defRPr>
                <a:solidFill>
                  <a:schemeClr val="bg1"/>
                </a:solidFill>
              </a:defRPr>
            </a:lvl1pPr>
          </a:lstStyle>
          <a:p>
            <a:r>
              <a:rPr lang="en-GB" smtClean="0"/>
              <a:t>© 2018 Deloitte LLP. Private and Confidential.</a:t>
            </a:r>
            <a:endParaRPr lang="en-GB" dirty="0"/>
          </a:p>
        </p:txBody>
      </p:sp>
      <p:sp>
        <p:nvSpPr>
          <p:cNvPr id="9" name="SD_LAN_peDocumentDate"/>
          <p:cNvSpPr>
            <a:spLocks noGrp="1"/>
          </p:cNvSpPr>
          <p:nvPr>
            <p:ph type="body" sz="quarter" idx="14" hasCustomPrompt="1"/>
          </p:nvPr>
        </p:nvSpPr>
        <p:spPr>
          <a:xfrm>
            <a:off x="376238" y="6376034"/>
            <a:ext cx="6903154" cy="277813"/>
          </a:xfrm>
        </p:spPr>
        <p:txBody>
          <a:bodyPr lIns="10800"/>
          <a:lstStyle>
            <a:lvl1pPr>
              <a:lnSpc>
                <a:spcPct val="106000"/>
              </a:lnSpc>
              <a:spcAft>
                <a:spcPts val="0"/>
              </a:spcAft>
              <a:defRPr sz="1000"/>
            </a:lvl1pPr>
          </a:lstStyle>
          <a:p>
            <a:pPr lvl="0"/>
            <a:r>
              <a:rPr lang="en-GB" dirty="0" smtClean="0"/>
              <a:t>Name | Date</a:t>
            </a:r>
          </a:p>
        </p:txBody>
      </p:sp>
    </p:spTree>
    <p:extLst>
      <p:ext uri="{BB962C8B-B14F-4D97-AF65-F5344CB8AC3E}">
        <p14:creationId xmlns:p14="http://schemas.microsoft.com/office/powerpoint/2010/main" val="95408733"/>
      </p:ext>
    </p:extLst>
  </p:cSld>
  <p:clrMapOvr>
    <a:masterClrMapping/>
  </p:clrMapOvr>
  <p:transition>
    <p:fade/>
  </p:transition>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GB" dirty="0" smtClean="0"/>
              <a:t>© 2018 Deloitte LLP. Private and Confidential.</a:t>
            </a:r>
            <a:endParaRPr lang="en-GB" dirty="0"/>
          </a:p>
        </p:txBody>
      </p:sp>
    </p:spTree>
    <p:extLst>
      <p:ext uri="{BB962C8B-B14F-4D97-AF65-F5344CB8AC3E}">
        <p14:creationId xmlns:p14="http://schemas.microsoft.com/office/powerpoint/2010/main"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22" name="SD_InternalExternal"/>
          <p:cNvSpPr>
            <a:spLocks/>
          </p:cNvSpPr>
          <p:nvPr userDrawn="1"/>
        </p:nvSpPr>
        <p:spPr bwMode="auto">
          <a:xfrm>
            <a:off x="376238" y="3429000"/>
            <a:ext cx="6958012" cy="2952750"/>
          </a:xfrm>
          <a:prstGeom prst="rect">
            <a:avLst/>
          </a:prstGeom>
          <a:noFill/>
          <a:ln w="9525">
            <a:noFill/>
            <a:miter lim="800000"/>
            <a:headEnd/>
            <a:tailEnd/>
          </a:ln>
        </p:spPr>
        <p:txBody>
          <a:bodyPr lIns="0" tIns="0" rIns="0" bIns="0" anchor="b"/>
          <a:lstStyle/>
          <a:p>
            <a:pPr defTabSz="1019175">
              <a:spcBef>
                <a:spcPts val="0"/>
              </a:spcBef>
              <a:spcAft>
                <a:spcPts val="0"/>
              </a:spcAft>
              <a:buClr>
                <a:schemeClr val="tx1"/>
              </a:buClr>
              <a:buSzPct val="80000"/>
              <a:buFont typeface="Wingdings" pitchFamily="2" charset="2"/>
              <a:buNone/>
            </a:pPr>
            <a:r>
              <a:rPr lang="en-GB" sz="900" noProof="1" smtClean="0">
                <a:solidFill>
                  <a:schemeClr val="tx1"/>
                </a:solidFill>
              </a:rPr>
              <a:t>Deloitte refers to one or more of Deloitte Touche Tohmatsu Limited (“DTTL”), a UK private company limited by guarantee, and its network of member firms, each of which is a legally separate and independent entity. Please see www.deloitte.co.uk/about for a detailed description of the legal structure of DTTL and its member firms.
Deloitte LLP is the United Kingdom member firm of DTTL.
This publication has been written in general terms and therefore cannot be relied on to cover specific situations; application of the principles set out will depend upon the particular circumstances involved and we recommend that you obtain professional advice before acting or refraining from acting on any of the contents of this publication. Deloitte LLP would be pleased to advise readers on how to apply the principles set out in this publication to their specific circumstances. Deloitte LLP accepts no duty of care or liability for any loss occasioned to any person acting or refraining from action as a result of any material in this publication.
© 2018 Deloitte LLP. All rights reserved.
Deloitte LLP is a limited liability partnership registered in England and Wales with registered number OC303675 and its registered office at 2 New Street Square, London EC4A 3BZ, United Kingdom. Tel: +44 (0) 20 7936 3000 Fax: +44 (0) 20 7583 1198.</a:t>
            </a:r>
          </a:p>
        </p:txBody>
      </p:sp>
      <p:sp>
        <p:nvSpPr>
          <p:cNvPr id="7" name="SD_ART_Logo"/>
          <p:cNvSpPr/>
          <p:nvPr userDrawn="1"/>
        </p:nvSpPr>
        <p:spPr>
          <a:xfrm>
            <a:off x="379939" y="376094"/>
            <a:ext cx="1852876" cy="8111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smtClean="0"/>
          </a:p>
        </p:txBody>
      </p:sp>
      <p:pic>
        <p:nvPicPr>
          <p:cNvPr id="2" name="SD_ART_Logo_bmkArt"/>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79939" y="376094"/>
            <a:ext cx="1852876" cy="812164"/>
          </a:xfrm>
          <a:prstGeom prst="rect">
            <a:avLst/>
          </a:prstGeom>
        </p:spPr>
      </p:pic>
      <p:sp>
        <p:nvSpPr>
          <p:cNvPr id="4" name="Footer Placeholder 3"/>
          <p:cNvSpPr>
            <a:spLocks noGrp="1"/>
          </p:cNvSpPr>
          <p:nvPr>
            <p:ph type="ftr" sz="quarter" idx="16"/>
          </p:nvPr>
        </p:nvSpPr>
        <p:spPr/>
        <p:txBody>
          <a:bodyPr/>
          <a:lstStyle>
            <a:lvl1pPr>
              <a:defRPr>
                <a:solidFill>
                  <a:schemeClr val="bg1"/>
                </a:solidFill>
              </a:defRPr>
            </a:lvl1pPr>
          </a:lstStyle>
          <a:p>
            <a:r>
              <a:rPr lang="en-GB" smtClean="0"/>
              <a:t>© 2018 Deloitte LLP. Private and Confidential.</a:t>
            </a:r>
            <a:endParaRPr lang="en-GB" dirty="0"/>
          </a:p>
        </p:txBody>
      </p:sp>
    </p:spTree>
    <p:extLst>
      <p:ext uri="{BB962C8B-B14F-4D97-AF65-F5344CB8AC3E}">
        <p14:creationId xmlns:p14="http://schemas.microsoft.com/office/powerpoint/2010/main" val="34721535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Ref idx="1001">
        <a:schemeClr val="bg1"/>
      </p:bgRef>
    </p:bg>
    <p:spTree>
      <p:nvGrpSpPr>
        <p:cNvPr id="1" name=""/>
        <p:cNvGrpSpPr/>
        <p:nvPr/>
      </p:nvGrpSpPr>
      <p:grpSpPr>
        <a:xfrm>
          <a:off x="0" y="0"/>
          <a:ext cx="0" cy="0"/>
          <a:chOff x="0" y="0"/>
          <a:chExt cx="0" cy="0"/>
        </a:xfrm>
      </p:grpSpPr>
      <p:sp>
        <p:nvSpPr>
          <p:cNvPr id="4" name="Colored background"/>
          <p:cNvSpPr/>
          <p:nvPr userDrawn="1"/>
        </p:nvSpPr>
        <p:spPr bwMode="gray">
          <a:xfrm>
            <a:off x="0" y="0"/>
            <a:ext cx="9144000" cy="6858000"/>
          </a:xfrm>
          <a:prstGeom prst="rect">
            <a:avLst/>
          </a:prstGeom>
          <a:solidFill>
            <a:srgbClr val="86BC2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6" name="Footer Placeholder 5"/>
          <p:cNvSpPr>
            <a:spLocks noGrp="1"/>
          </p:cNvSpPr>
          <p:nvPr>
            <p:ph type="ftr" sz="quarter" idx="10"/>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210457412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46A3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1976482637"/>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62B5E5"/>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1654021458"/>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12169"/>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127237144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Ref idx="1001">
        <a:schemeClr val="bg1"/>
      </p:bgRef>
    </p:bg>
    <p:spTree>
      <p:nvGrpSpPr>
        <p:cNvPr id="1" name=""/>
        <p:cNvGrpSpPr/>
        <p:nvPr/>
      </p:nvGrpSpPr>
      <p:grpSpPr>
        <a:xfrm>
          <a:off x="0" y="0"/>
          <a:ext cx="0" cy="0"/>
          <a:chOff x="0" y="0"/>
          <a:chExt cx="0" cy="0"/>
        </a:xfrm>
      </p:grpSpPr>
      <p:sp>
        <p:nvSpPr>
          <p:cNvPr id="7" name="Colored background"/>
          <p:cNvSpPr/>
          <p:nvPr userDrawn="1"/>
        </p:nvSpPr>
        <p:spPr bwMode="gray">
          <a:xfrm>
            <a:off x="0" y="0"/>
            <a:ext cx="9144000" cy="6858000"/>
          </a:xfrm>
          <a:prstGeom prst="rect">
            <a:avLst/>
          </a:prstGeom>
          <a:solidFill>
            <a:srgbClr val="000000"/>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smtClean="0">
              <a:solidFill>
                <a:schemeClr val="bg1"/>
              </a:solidFill>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Arial" panose="020B0604020202020204" pitchFamily="34" charset="0"/>
              </a:defRPr>
            </a:lvl1pPr>
          </a:lstStyle>
          <a:p>
            <a:r>
              <a:rPr lang="en-GB" noProof="0" dirty="0" smtClean="0"/>
              <a:t>Click to edit Master title style</a:t>
            </a:r>
            <a:endParaRPr lang="en-GB"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smtClean="0"/>
              <a:t>Click to edit Master text styles</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4" name="Footer Placeholder 3"/>
          <p:cNvSpPr>
            <a:spLocks noGrp="1"/>
          </p:cNvSpPr>
          <p:nvPr>
            <p:ph type="ftr" sz="quarter" idx="10"/>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1936978992"/>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4662488" y="6477000"/>
            <a:ext cx="3761320" cy="244475"/>
          </a:xfrm>
          <a:prstGeom prst="rect">
            <a:avLst/>
          </a:prstGeom>
        </p:spPr>
        <p:txBody>
          <a:bodyPr vert="horz" lIns="0" tIns="0" rIns="0" bIns="0" rtlCol="0" anchor="t" anchorCtr="0"/>
          <a:lstStyle>
            <a:lvl1pPr algn="r">
              <a:defRPr sz="650">
                <a:solidFill>
                  <a:schemeClr val="tx1"/>
                </a:solidFill>
              </a:defRPr>
            </a:lvl1pPr>
          </a:lstStyle>
          <a:p>
            <a:r>
              <a:rPr lang="en-GB" dirty="0" smtClean="0"/>
              <a:t>© 2018 Deloitte LLP. Private and Confidential.</a:t>
            </a:r>
            <a:endParaRPr lang="en-GB" dirty="0"/>
          </a:p>
        </p:txBody>
      </p:sp>
      <p:graphicFrame>
        <p:nvGraphicFramePr>
          <p:cNvPr id="4" name="Object 3" hidden="1"/>
          <p:cNvGraphicFramePr>
            <a:graphicFrameLocks noChangeAspect="1"/>
          </p:cNvGraphicFramePr>
          <p:nvPr>
            <p:custDataLst>
              <p:tags r:id="rId44"/>
            </p:custDataLst>
            <p:extLst>
              <p:ext uri="{D42A27DB-BD31-4B8C-83A1-F6EECF244321}">
                <p14:modId xmlns:p14="http://schemas.microsoft.com/office/powerpoint/2010/main" val="1941833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4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GB" noProof="0" dirty="0" smtClean="0"/>
              <a:t>Click to edit Master title style</a:t>
            </a:r>
            <a:endParaRPr lang="en-GB"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GB" noProof="0" dirty="0" smtClean="0"/>
              <a:t>Click to 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3" name="TextBox 2"/>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650" noProof="0" smtClean="0">
                <a:solidFill>
                  <a:schemeClr val="tx1"/>
                </a:solidFill>
              </a:rPr>
              <a:pPr marL="0" indent="0" algn="r">
                <a:spcBef>
                  <a:spcPts val="600"/>
                </a:spcBef>
                <a:buSzPct val="100000"/>
                <a:buFont typeface="Arial"/>
                <a:buNone/>
              </a:pPr>
              <a:t>‹#›</a:t>
            </a:fld>
            <a:endParaRPr lang="en-GB" sz="650" noProof="0" dirty="0">
              <a:solidFill>
                <a:schemeClr val="tx1"/>
              </a:solidFill>
            </a:endParaRPr>
          </a:p>
        </p:txBody>
      </p:sp>
      <p:sp>
        <p:nvSpPr>
          <p:cNvPr id="7" name="Footer Placeholder 5"/>
          <p:cNvSpPr txBox="1">
            <a:spLocks/>
          </p:cNvSpPr>
          <p:nvPr userDrawn="1"/>
        </p:nvSpPr>
        <p:spPr>
          <a:xfrm>
            <a:off x="363667" y="6476999"/>
            <a:ext cx="3761320" cy="244475"/>
          </a:xfrm>
          <a:prstGeom prst="rect">
            <a:avLst/>
          </a:prstGeom>
        </p:spPr>
        <p:txBody>
          <a:bodyPr vert="horz" lIns="0" tIns="0" rIns="0" bIns="0" rtlCol="0" anchor="t" anchorCtr="0"/>
          <a:lstStyle>
            <a:defPPr>
              <a:defRPr lang="en-US"/>
            </a:defPPr>
            <a:lvl1pPr marL="0" algn="r" defTabSz="914400" rtl="0" eaLnBrk="1" latinLnBrk="0" hangingPunct="1">
              <a:defRPr sz="65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dirty="0" smtClean="0"/>
              <a:t>University of Cambridge - Department Assurance Survey 2017/18</a:t>
            </a:r>
            <a:endParaRPr lang="en-GB" dirty="0"/>
          </a:p>
        </p:txBody>
      </p:sp>
    </p:spTree>
  </p:cSld>
  <p:clrMap bg1="lt1" tx1="dk1" bg2="lt2" tx2="dk2" accent1="accent1" accent2="accent2" accent3="accent3" accent4="accent4" accent5="accent5" accent6="accent6" hlink="hlink" folHlink="folHlink"/>
  <p:sldLayoutIdLst>
    <p:sldLayoutId id="2147483701" r:id="rId1"/>
    <p:sldLayoutId id="2147483758" r:id="rId2"/>
    <p:sldLayoutId id="2147483759" r:id="rId3"/>
    <p:sldLayoutId id="2147483760"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7" r:id="rId41"/>
  </p:sldLayoutIdLst>
  <p:transition>
    <p:fade/>
  </p:transition>
  <p:hf sldNum="0"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Char char="​"/>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panose="020B0604020202020204" pitchFamily="34" charset="0"/>
        <a:buChar char="​"/>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356400" indent="0" algn="l" defTabSz="914400" rtl="0" eaLnBrk="1" latinLnBrk="0" hangingPunct="1">
        <a:spcBef>
          <a:spcPts val="0"/>
        </a:spcBef>
        <a:spcAft>
          <a:spcPts val="1000"/>
        </a:spcAft>
        <a:buFont typeface="Verdana" panose="020B0604030504040204" pitchFamily="34" charset="0"/>
        <a:buNone/>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19.xml"/><Relationship Id="rId4" Type="http://schemas.openxmlformats.org/officeDocument/2006/relationships/comments" Target="../comments/commen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376238" y="2848899"/>
            <a:ext cx="4194000" cy="324000"/>
          </a:xfrm>
        </p:spPr>
        <p:txBody>
          <a:bodyPr/>
          <a:lstStyle/>
          <a:p>
            <a:r>
              <a:rPr lang="en-GB" dirty="0" smtClean="0"/>
              <a:t>Departmental Assurance Survey</a:t>
            </a:r>
            <a:endParaRPr lang="en-GB" dirty="0"/>
          </a:p>
        </p:txBody>
      </p:sp>
      <p:sp>
        <p:nvSpPr>
          <p:cNvPr id="7" name="Subtitle 6"/>
          <p:cNvSpPr>
            <a:spLocks noGrp="1"/>
          </p:cNvSpPr>
          <p:nvPr>
            <p:ph type="subTitle" idx="1"/>
          </p:nvPr>
        </p:nvSpPr>
        <p:spPr>
          <a:xfrm>
            <a:off x="376238" y="3215928"/>
            <a:ext cx="4194000" cy="505645"/>
          </a:xfrm>
        </p:spPr>
        <p:txBody>
          <a:bodyPr/>
          <a:lstStyle/>
          <a:p>
            <a:r>
              <a:rPr lang="en-GB" dirty="0" smtClean="0"/>
              <a:t>Financial User Group presentation</a:t>
            </a:r>
            <a:endParaRPr lang="en-GB" dirty="0"/>
          </a:p>
        </p:txBody>
      </p:sp>
      <p:sp>
        <p:nvSpPr>
          <p:cNvPr id="9" name="Text Placeholder 8"/>
          <p:cNvSpPr>
            <a:spLocks noGrp="1"/>
          </p:cNvSpPr>
          <p:nvPr>
            <p:ph type="body" sz="quarter" idx="14"/>
          </p:nvPr>
        </p:nvSpPr>
        <p:spPr>
          <a:xfrm>
            <a:off x="376238" y="3999584"/>
            <a:ext cx="6903154" cy="277813"/>
          </a:xfrm>
        </p:spPr>
        <p:txBody>
          <a:bodyPr/>
          <a:lstStyle/>
          <a:p>
            <a:endParaRPr lang="en-GB" dirty="0" smtClean="0"/>
          </a:p>
          <a:p>
            <a:r>
              <a:rPr lang="en-GB" dirty="0" smtClean="0"/>
              <a:t>13</a:t>
            </a:r>
            <a:r>
              <a:rPr lang="en-GB" baseline="30000" dirty="0" smtClean="0"/>
              <a:t>th</a:t>
            </a:r>
            <a:r>
              <a:rPr lang="en-GB" dirty="0" smtClean="0"/>
              <a:t> July 2018</a:t>
            </a:r>
            <a:endParaRPr lang="en-GB" dirty="0"/>
          </a:p>
        </p:txBody>
      </p:sp>
      <p:pic>
        <p:nvPicPr>
          <p:cNvPr id="10" name="Picture 10" descr="University Of Cambridge University Of Cambrid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34412" y="211792"/>
            <a:ext cx="2078254" cy="660465"/>
          </a:xfrm>
          <a:prstGeom prst="rect">
            <a:avLst/>
          </a:prstGeom>
          <a:noFill/>
          <a:extLst>
            <a:ext uri="{909E8E84-426E-40DD-AFC4-6F175D3DCCD1}">
              <a14:hiddenFill xmlns:a14="http://schemas.microsoft.com/office/drawing/2010/main">
                <a:solidFill>
                  <a:srgbClr val="FFFFFF"/>
                </a:solidFill>
              </a14:hiddenFill>
            </a:ext>
          </a:extLst>
        </p:spPr>
      </p:pic>
      <p:sp>
        <p:nvSpPr>
          <p:cNvPr id="11" name="Footer Placeholder 10"/>
          <p:cNvSpPr>
            <a:spLocks noGrp="1"/>
          </p:cNvSpPr>
          <p:nvPr>
            <p:ph type="ftr" sz="quarter" idx="12"/>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35001116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6"/>
          </p:nvPr>
        </p:nvSpPr>
        <p:spPr/>
        <p:txBody>
          <a:bodyPr/>
          <a:lstStyle/>
          <a:p>
            <a:r>
              <a:rPr lang="en-GB" smtClean="0"/>
              <a:t>© 2018 Deloitte LLP. Private and Confidential.</a:t>
            </a:r>
            <a:endParaRPr lang="en-GB" dirty="0"/>
          </a:p>
        </p:txBody>
      </p:sp>
    </p:spTree>
    <p:extLst>
      <p:ext uri="{BB962C8B-B14F-4D97-AF65-F5344CB8AC3E}">
        <p14:creationId xmlns:p14="http://schemas.microsoft.com/office/powerpoint/2010/main" val="708639422"/>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0"/>
          </p:nvPr>
        </p:nvSpPr>
        <p:spPr/>
        <p:txBody>
          <a:bodyPr/>
          <a:lstStyle/>
          <a:p>
            <a:pPr marL="171450" indent="-171450">
              <a:buFont typeface="Wingdings" panose="05000000000000000000" pitchFamily="2" charset="2"/>
              <a:buChar char="ü"/>
            </a:pPr>
            <a:r>
              <a:rPr lang="en-GB" sz="1400" noProof="0" dirty="0" smtClean="0"/>
              <a:t>Introduction</a:t>
            </a:r>
          </a:p>
          <a:p>
            <a:pPr marL="171450" indent="-171450" fontAlgn="ctr">
              <a:buFont typeface="Wingdings" panose="05000000000000000000" pitchFamily="2" charset="2"/>
              <a:buChar char="ü"/>
            </a:pPr>
            <a:endParaRPr lang="en-GB" sz="1400" dirty="0" smtClean="0"/>
          </a:p>
          <a:p>
            <a:pPr marL="171450" indent="-171450" fontAlgn="ctr">
              <a:buFont typeface="Wingdings" panose="05000000000000000000" pitchFamily="2" charset="2"/>
              <a:buChar char="ü"/>
            </a:pPr>
            <a:r>
              <a:rPr lang="en-GB" sz="1400" dirty="0" smtClean="0"/>
              <a:t>Summary Results 2017/18</a:t>
            </a:r>
          </a:p>
          <a:p>
            <a:pPr marL="171450" indent="-171450" fontAlgn="ctr">
              <a:buFont typeface="Wingdings" panose="05000000000000000000" pitchFamily="2" charset="2"/>
              <a:buChar char="ü"/>
            </a:pPr>
            <a:endParaRPr lang="en-GB" sz="1400" dirty="0" smtClean="0"/>
          </a:p>
          <a:p>
            <a:pPr marL="171450" indent="-171450" fontAlgn="ctr">
              <a:buFont typeface="Wingdings" panose="05000000000000000000" pitchFamily="2" charset="2"/>
              <a:buChar char="ü"/>
            </a:pPr>
            <a:r>
              <a:rPr lang="en-GB" sz="1400" dirty="0" smtClean="0"/>
              <a:t>Points for improvement</a:t>
            </a:r>
          </a:p>
          <a:p>
            <a:pPr marL="171450" indent="-171450" fontAlgn="ctr">
              <a:buFont typeface="Wingdings" panose="05000000000000000000" pitchFamily="2" charset="2"/>
              <a:buChar char="ü"/>
            </a:pPr>
            <a:endParaRPr lang="en-GB" sz="1400" dirty="0" smtClean="0"/>
          </a:p>
          <a:p>
            <a:pPr marL="171450" indent="-171450" fontAlgn="ctr">
              <a:buFont typeface="Wingdings" panose="05000000000000000000" pitchFamily="2" charset="2"/>
              <a:buChar char="ü"/>
            </a:pPr>
            <a:r>
              <a:rPr lang="en-GB" sz="1400" dirty="0" smtClean="0"/>
              <a:t>Further Information</a:t>
            </a:r>
          </a:p>
          <a:p>
            <a:pPr lvl="3" fontAlgn="ctr"/>
            <a:r>
              <a:rPr lang="en-GB" sz="1400" dirty="0"/>
              <a:t>Timeline of Survey Preparation and Analysis</a:t>
            </a:r>
          </a:p>
          <a:p>
            <a:pPr lvl="3" fontAlgn="ctr"/>
            <a:r>
              <a:rPr lang="en-GB" sz="1400" dirty="0" smtClean="0"/>
              <a:t>Feedback and Continuous Improvement</a:t>
            </a:r>
            <a:endParaRPr lang="en-GB" sz="1400" noProof="0" dirty="0" smtClean="0"/>
          </a:p>
          <a:p>
            <a:endParaRPr lang="en-GB" sz="1400" noProof="0" dirty="0" smtClean="0"/>
          </a:p>
        </p:txBody>
      </p:sp>
      <p:sp>
        <p:nvSpPr>
          <p:cNvPr id="3" name="Title 2"/>
          <p:cNvSpPr>
            <a:spLocks noGrp="1"/>
          </p:cNvSpPr>
          <p:nvPr>
            <p:ph type="title"/>
          </p:nvPr>
        </p:nvSpPr>
        <p:spPr/>
        <p:txBody>
          <a:bodyPr/>
          <a:lstStyle/>
          <a:p>
            <a:r>
              <a:rPr lang="en-GB" noProof="0" dirty="0" smtClean="0"/>
              <a:t>Contents</a:t>
            </a:r>
            <a:endParaRPr lang="en-GB" noProof="0" dirty="0"/>
          </a:p>
        </p:txBody>
      </p:sp>
      <p:sp>
        <p:nvSpPr>
          <p:cNvPr id="6" name="Footer Placeholder 5"/>
          <p:cNvSpPr>
            <a:spLocks noGrp="1"/>
          </p:cNvSpPr>
          <p:nvPr>
            <p:ph type="ftr" sz="quarter" idx="11"/>
          </p:nvPr>
        </p:nvSpPr>
        <p:spPr/>
        <p:txBody>
          <a:bodyPr/>
          <a:lstStyle/>
          <a:p>
            <a:r>
              <a:rPr lang="en-GB" dirty="0" smtClean="0"/>
              <a:t>© 2018 Deloitte LLP. Private and Confidential.</a:t>
            </a:r>
            <a:endParaRPr lang="en-GB" dirty="0"/>
          </a:p>
        </p:txBody>
      </p:sp>
    </p:spTree>
    <p:extLst>
      <p:ext uri="{BB962C8B-B14F-4D97-AF65-F5344CB8AC3E}">
        <p14:creationId xmlns:p14="http://schemas.microsoft.com/office/powerpoint/2010/main" val="122949577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Chart Placeholder 15"/>
          <p:cNvGraphicFramePr>
            <a:graphicFrameLocks noChangeAspect="1"/>
          </p:cNvGraphicFramePr>
          <p:nvPr>
            <p:extLst/>
          </p:nvPr>
        </p:nvGraphicFramePr>
        <p:xfrm>
          <a:off x="399460" y="1018122"/>
          <a:ext cx="1865521" cy="2873388"/>
        </p:xfrm>
        <a:graphic>
          <a:graphicData uri="http://schemas.openxmlformats.org/drawingml/2006/chart">
            <c:chart xmlns:c="http://schemas.openxmlformats.org/drawingml/2006/chart" xmlns:r="http://schemas.openxmlformats.org/officeDocument/2006/relationships" r:id="rId2"/>
          </a:graphicData>
        </a:graphic>
      </p:graphicFrame>
      <p:sp>
        <p:nvSpPr>
          <p:cNvPr id="34" name="Freeform 244"/>
          <p:cNvSpPr>
            <a:spLocks noChangeAspect="1" noEditPoints="1"/>
          </p:cNvSpPr>
          <p:nvPr/>
        </p:nvSpPr>
        <p:spPr bwMode="auto">
          <a:xfrm>
            <a:off x="880957" y="1805645"/>
            <a:ext cx="894352" cy="610165"/>
          </a:xfrm>
          <a:custGeom>
            <a:avLst/>
            <a:gdLst>
              <a:gd name="T0" fmla="*/ 48 w 322"/>
              <a:gd name="T1" fmla="*/ 172 h 219"/>
              <a:gd name="T2" fmla="*/ 60 w 322"/>
              <a:gd name="T3" fmla="*/ 188 h 219"/>
              <a:gd name="T4" fmla="*/ 63 w 322"/>
              <a:gd name="T5" fmla="*/ 203 h 219"/>
              <a:gd name="T6" fmla="*/ 54 w 322"/>
              <a:gd name="T7" fmla="*/ 207 h 219"/>
              <a:gd name="T8" fmla="*/ 48 w 322"/>
              <a:gd name="T9" fmla="*/ 205 h 219"/>
              <a:gd name="T10" fmla="*/ 27 w 322"/>
              <a:gd name="T11" fmla="*/ 171 h 219"/>
              <a:gd name="T12" fmla="*/ 50 w 322"/>
              <a:gd name="T13" fmla="*/ 144 h 219"/>
              <a:gd name="T14" fmla="*/ 79 w 322"/>
              <a:gd name="T15" fmla="*/ 114 h 219"/>
              <a:gd name="T16" fmla="*/ 12 w 322"/>
              <a:gd name="T17" fmla="*/ 101 h 219"/>
              <a:gd name="T18" fmla="*/ 1 w 322"/>
              <a:gd name="T19" fmla="*/ 91 h 219"/>
              <a:gd name="T20" fmla="*/ 10 w 322"/>
              <a:gd name="T21" fmla="*/ 79 h 219"/>
              <a:gd name="T22" fmla="*/ 99 w 322"/>
              <a:gd name="T23" fmla="*/ 108 h 219"/>
              <a:gd name="T24" fmla="*/ 58 w 322"/>
              <a:gd name="T25" fmla="*/ 164 h 219"/>
              <a:gd name="T26" fmla="*/ 48 w 322"/>
              <a:gd name="T27" fmla="*/ 172 h 219"/>
              <a:gd name="T28" fmla="*/ 301 w 322"/>
              <a:gd name="T29" fmla="*/ 50 h 219"/>
              <a:gd name="T30" fmla="*/ 151 w 322"/>
              <a:gd name="T31" fmla="*/ 201 h 219"/>
              <a:gd name="T32" fmla="*/ 146 w 322"/>
              <a:gd name="T33" fmla="*/ 203 h 219"/>
              <a:gd name="T34" fmla="*/ 101 w 322"/>
              <a:gd name="T35" fmla="*/ 218 h 219"/>
              <a:gd name="T36" fmla="*/ 98 w 322"/>
              <a:gd name="T37" fmla="*/ 219 h 219"/>
              <a:gd name="T38" fmla="*/ 90 w 322"/>
              <a:gd name="T39" fmla="*/ 216 h 219"/>
              <a:gd name="T40" fmla="*/ 88 w 322"/>
              <a:gd name="T41" fmla="*/ 205 h 219"/>
              <a:gd name="T42" fmla="*/ 103 w 322"/>
              <a:gd name="T43" fmla="*/ 159 h 219"/>
              <a:gd name="T44" fmla="*/ 105 w 322"/>
              <a:gd name="T45" fmla="*/ 155 h 219"/>
              <a:gd name="T46" fmla="*/ 256 w 322"/>
              <a:gd name="T47" fmla="*/ 4 h 219"/>
              <a:gd name="T48" fmla="*/ 271 w 322"/>
              <a:gd name="T49" fmla="*/ 4 h 219"/>
              <a:gd name="T50" fmla="*/ 301 w 322"/>
              <a:gd name="T51" fmla="*/ 35 h 219"/>
              <a:gd name="T52" fmla="*/ 305 w 322"/>
              <a:gd name="T53" fmla="*/ 42 h 219"/>
              <a:gd name="T54" fmla="*/ 301 w 322"/>
              <a:gd name="T55" fmla="*/ 50 h 219"/>
              <a:gd name="T56" fmla="*/ 218 w 322"/>
              <a:gd name="T57" fmla="*/ 102 h 219"/>
              <a:gd name="T58" fmla="*/ 203 w 322"/>
              <a:gd name="T59" fmla="*/ 87 h 219"/>
              <a:gd name="T60" fmla="*/ 122 w 322"/>
              <a:gd name="T61" fmla="*/ 169 h 219"/>
              <a:gd name="T62" fmla="*/ 115 w 322"/>
              <a:gd name="T63" fmla="*/ 191 h 219"/>
              <a:gd name="T64" fmla="*/ 137 w 322"/>
              <a:gd name="T65" fmla="*/ 184 h 219"/>
              <a:gd name="T66" fmla="*/ 218 w 322"/>
              <a:gd name="T67" fmla="*/ 102 h 219"/>
              <a:gd name="T68" fmla="*/ 279 w 322"/>
              <a:gd name="T69" fmla="*/ 42 h 219"/>
              <a:gd name="T70" fmla="*/ 264 w 322"/>
              <a:gd name="T71" fmla="*/ 27 h 219"/>
              <a:gd name="T72" fmla="*/ 218 w 322"/>
              <a:gd name="T73" fmla="*/ 72 h 219"/>
              <a:gd name="T74" fmla="*/ 234 w 322"/>
              <a:gd name="T75" fmla="*/ 87 h 219"/>
              <a:gd name="T76" fmla="*/ 279 w 322"/>
              <a:gd name="T77" fmla="*/ 42 h 219"/>
              <a:gd name="T78" fmla="*/ 318 w 322"/>
              <a:gd name="T79" fmla="*/ 82 h 219"/>
              <a:gd name="T80" fmla="*/ 302 w 322"/>
              <a:gd name="T81" fmla="*/ 82 h 219"/>
              <a:gd name="T82" fmla="*/ 260 w 322"/>
              <a:gd name="T83" fmla="*/ 125 h 219"/>
              <a:gd name="T84" fmla="*/ 260 w 322"/>
              <a:gd name="T85" fmla="*/ 140 h 219"/>
              <a:gd name="T86" fmla="*/ 267 w 322"/>
              <a:gd name="T87" fmla="*/ 143 h 219"/>
              <a:gd name="T88" fmla="*/ 275 w 322"/>
              <a:gd name="T89" fmla="*/ 140 h 219"/>
              <a:gd name="T90" fmla="*/ 318 w 322"/>
              <a:gd name="T91" fmla="*/ 98 h 219"/>
              <a:gd name="T92" fmla="*/ 318 w 322"/>
              <a:gd name="T93" fmla="*/ 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2" h="219">
                <a:moveTo>
                  <a:pt x="48" y="172"/>
                </a:moveTo>
                <a:cubicBezTo>
                  <a:pt x="48" y="177"/>
                  <a:pt x="56" y="185"/>
                  <a:pt x="60" y="188"/>
                </a:cubicBezTo>
                <a:cubicBezTo>
                  <a:pt x="65" y="191"/>
                  <a:pt x="66" y="198"/>
                  <a:pt x="63" y="203"/>
                </a:cubicBezTo>
                <a:cubicBezTo>
                  <a:pt x="61" y="206"/>
                  <a:pt x="57" y="207"/>
                  <a:pt x="54" y="207"/>
                </a:cubicBezTo>
                <a:cubicBezTo>
                  <a:pt x="52" y="207"/>
                  <a:pt x="50" y="207"/>
                  <a:pt x="48" y="205"/>
                </a:cubicBezTo>
                <a:cubicBezTo>
                  <a:pt x="46" y="204"/>
                  <a:pt x="25" y="189"/>
                  <a:pt x="27" y="171"/>
                </a:cubicBezTo>
                <a:cubicBezTo>
                  <a:pt x="28" y="160"/>
                  <a:pt x="35" y="151"/>
                  <a:pt x="50" y="144"/>
                </a:cubicBezTo>
                <a:cubicBezTo>
                  <a:pt x="70" y="135"/>
                  <a:pt x="81" y="121"/>
                  <a:pt x="79" y="114"/>
                </a:cubicBezTo>
                <a:cubicBezTo>
                  <a:pt x="77" y="107"/>
                  <a:pt x="61" y="96"/>
                  <a:pt x="12" y="101"/>
                </a:cubicBezTo>
                <a:cubicBezTo>
                  <a:pt x="6" y="101"/>
                  <a:pt x="1" y="97"/>
                  <a:pt x="1" y="91"/>
                </a:cubicBezTo>
                <a:cubicBezTo>
                  <a:pt x="0" y="85"/>
                  <a:pt x="5" y="80"/>
                  <a:pt x="10" y="79"/>
                </a:cubicBezTo>
                <a:cubicBezTo>
                  <a:pt x="80" y="73"/>
                  <a:pt x="96" y="95"/>
                  <a:pt x="99" y="108"/>
                </a:cubicBezTo>
                <a:cubicBezTo>
                  <a:pt x="105" y="128"/>
                  <a:pt x="88" y="150"/>
                  <a:pt x="58" y="164"/>
                </a:cubicBezTo>
                <a:cubicBezTo>
                  <a:pt x="52" y="167"/>
                  <a:pt x="48" y="170"/>
                  <a:pt x="48" y="172"/>
                </a:cubicBezTo>
                <a:close/>
                <a:moveTo>
                  <a:pt x="301" y="50"/>
                </a:moveTo>
                <a:cubicBezTo>
                  <a:pt x="151" y="201"/>
                  <a:pt x="151" y="201"/>
                  <a:pt x="151" y="201"/>
                </a:cubicBezTo>
                <a:cubicBezTo>
                  <a:pt x="149" y="202"/>
                  <a:pt x="148" y="203"/>
                  <a:pt x="146" y="203"/>
                </a:cubicBezTo>
                <a:cubicBezTo>
                  <a:pt x="101" y="218"/>
                  <a:pt x="101" y="218"/>
                  <a:pt x="101" y="218"/>
                </a:cubicBezTo>
                <a:cubicBezTo>
                  <a:pt x="100" y="219"/>
                  <a:pt x="99" y="219"/>
                  <a:pt x="98" y="219"/>
                </a:cubicBezTo>
                <a:cubicBezTo>
                  <a:pt x="95" y="219"/>
                  <a:pt x="92" y="218"/>
                  <a:pt x="90" y="216"/>
                </a:cubicBezTo>
                <a:cubicBezTo>
                  <a:pt x="87" y="213"/>
                  <a:pt x="86" y="209"/>
                  <a:pt x="88" y="205"/>
                </a:cubicBezTo>
                <a:cubicBezTo>
                  <a:pt x="103" y="159"/>
                  <a:pt x="103" y="159"/>
                  <a:pt x="103" y="159"/>
                </a:cubicBezTo>
                <a:cubicBezTo>
                  <a:pt x="103" y="158"/>
                  <a:pt x="104" y="156"/>
                  <a:pt x="105" y="155"/>
                </a:cubicBezTo>
                <a:cubicBezTo>
                  <a:pt x="256" y="4"/>
                  <a:pt x="256" y="4"/>
                  <a:pt x="256" y="4"/>
                </a:cubicBezTo>
                <a:cubicBezTo>
                  <a:pt x="260" y="0"/>
                  <a:pt x="267" y="0"/>
                  <a:pt x="271" y="4"/>
                </a:cubicBezTo>
                <a:cubicBezTo>
                  <a:pt x="301" y="35"/>
                  <a:pt x="301" y="35"/>
                  <a:pt x="301" y="35"/>
                </a:cubicBezTo>
                <a:cubicBezTo>
                  <a:pt x="303" y="37"/>
                  <a:pt x="305" y="39"/>
                  <a:pt x="305" y="42"/>
                </a:cubicBezTo>
                <a:cubicBezTo>
                  <a:pt x="305" y="45"/>
                  <a:pt x="303" y="48"/>
                  <a:pt x="301" y="50"/>
                </a:cubicBezTo>
                <a:close/>
                <a:moveTo>
                  <a:pt x="218" y="102"/>
                </a:moveTo>
                <a:cubicBezTo>
                  <a:pt x="203" y="87"/>
                  <a:pt x="203" y="87"/>
                  <a:pt x="203" y="87"/>
                </a:cubicBezTo>
                <a:cubicBezTo>
                  <a:pt x="122" y="169"/>
                  <a:pt x="122" y="169"/>
                  <a:pt x="122" y="169"/>
                </a:cubicBezTo>
                <a:cubicBezTo>
                  <a:pt x="115" y="191"/>
                  <a:pt x="115" y="191"/>
                  <a:pt x="115" y="191"/>
                </a:cubicBezTo>
                <a:cubicBezTo>
                  <a:pt x="137" y="184"/>
                  <a:pt x="137" y="184"/>
                  <a:pt x="137" y="184"/>
                </a:cubicBezTo>
                <a:lnTo>
                  <a:pt x="218" y="102"/>
                </a:lnTo>
                <a:close/>
                <a:moveTo>
                  <a:pt x="279" y="42"/>
                </a:moveTo>
                <a:cubicBezTo>
                  <a:pt x="264" y="27"/>
                  <a:pt x="264" y="27"/>
                  <a:pt x="264" y="27"/>
                </a:cubicBezTo>
                <a:cubicBezTo>
                  <a:pt x="218" y="72"/>
                  <a:pt x="218" y="72"/>
                  <a:pt x="218" y="72"/>
                </a:cubicBezTo>
                <a:cubicBezTo>
                  <a:pt x="234" y="87"/>
                  <a:pt x="234" y="87"/>
                  <a:pt x="234" y="87"/>
                </a:cubicBezTo>
                <a:lnTo>
                  <a:pt x="279" y="42"/>
                </a:lnTo>
                <a:close/>
                <a:moveTo>
                  <a:pt x="318" y="82"/>
                </a:moveTo>
                <a:cubicBezTo>
                  <a:pt x="313" y="78"/>
                  <a:pt x="307" y="78"/>
                  <a:pt x="302" y="82"/>
                </a:cubicBezTo>
                <a:cubicBezTo>
                  <a:pt x="260" y="125"/>
                  <a:pt x="260" y="125"/>
                  <a:pt x="260" y="125"/>
                </a:cubicBezTo>
                <a:cubicBezTo>
                  <a:pt x="256" y="129"/>
                  <a:pt x="256" y="136"/>
                  <a:pt x="260" y="140"/>
                </a:cubicBezTo>
                <a:cubicBezTo>
                  <a:pt x="262" y="142"/>
                  <a:pt x="265" y="143"/>
                  <a:pt x="267" y="143"/>
                </a:cubicBezTo>
                <a:cubicBezTo>
                  <a:pt x="270" y="143"/>
                  <a:pt x="273" y="142"/>
                  <a:pt x="275" y="140"/>
                </a:cubicBezTo>
                <a:cubicBezTo>
                  <a:pt x="318" y="98"/>
                  <a:pt x="318" y="98"/>
                  <a:pt x="318" y="98"/>
                </a:cubicBezTo>
                <a:cubicBezTo>
                  <a:pt x="322" y="93"/>
                  <a:pt x="322" y="87"/>
                  <a:pt x="318" y="82"/>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Rectangular Callout 45"/>
          <p:cNvSpPr/>
          <p:nvPr/>
        </p:nvSpPr>
        <p:spPr bwMode="gray">
          <a:xfrm>
            <a:off x="2573854" y="1177293"/>
            <a:ext cx="2064822" cy="970006"/>
          </a:xfrm>
          <a:prstGeom prst="wedgeRectCallout">
            <a:avLst>
              <a:gd name="adj1" fmla="val -65203"/>
              <a:gd name="adj2" fmla="val -11776"/>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r>
              <a:rPr lang="en-GB" sz="1400" dirty="0"/>
              <a:t>86 responses to the survey with 99% of surveys returned </a:t>
            </a:r>
            <a:endParaRPr lang="en-US" sz="1400" dirty="0" smtClean="0"/>
          </a:p>
        </p:txBody>
      </p:sp>
      <p:sp>
        <p:nvSpPr>
          <p:cNvPr id="47" name="Freeform 481"/>
          <p:cNvSpPr>
            <a:spLocks noChangeAspect="1" noEditPoints="1"/>
          </p:cNvSpPr>
          <p:nvPr/>
        </p:nvSpPr>
        <p:spPr bwMode="auto">
          <a:xfrm>
            <a:off x="2599588" y="2201522"/>
            <a:ext cx="367631" cy="367631"/>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84 w 512"/>
              <a:gd name="T11" fmla="*/ 320 h 512"/>
              <a:gd name="T12" fmla="*/ 128 w 512"/>
              <a:gd name="T13" fmla="*/ 320 h 512"/>
              <a:gd name="T14" fmla="*/ 117 w 512"/>
              <a:gd name="T15" fmla="*/ 309 h 512"/>
              <a:gd name="T16" fmla="*/ 128 w 512"/>
              <a:gd name="T17" fmla="*/ 298 h 512"/>
              <a:gd name="T18" fmla="*/ 384 w 512"/>
              <a:gd name="T19" fmla="*/ 298 h 512"/>
              <a:gd name="T20" fmla="*/ 394 w 512"/>
              <a:gd name="T21" fmla="*/ 309 h 512"/>
              <a:gd name="T22" fmla="*/ 384 w 512"/>
              <a:gd name="T23" fmla="*/ 320 h 512"/>
              <a:gd name="T24" fmla="*/ 384 w 512"/>
              <a:gd name="T25" fmla="*/ 213 h 512"/>
              <a:gd name="T26" fmla="*/ 128 w 512"/>
              <a:gd name="T27" fmla="*/ 213 h 512"/>
              <a:gd name="T28" fmla="*/ 117 w 512"/>
              <a:gd name="T29" fmla="*/ 202 h 512"/>
              <a:gd name="T30" fmla="*/ 128 w 512"/>
              <a:gd name="T31" fmla="*/ 192 h 512"/>
              <a:gd name="T32" fmla="*/ 384 w 512"/>
              <a:gd name="T33" fmla="*/ 192 h 512"/>
              <a:gd name="T34" fmla="*/ 394 w 512"/>
              <a:gd name="T35" fmla="*/ 202 h 512"/>
              <a:gd name="T36" fmla="*/ 384 w 512"/>
              <a:gd name="T3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84" y="320"/>
                </a:moveTo>
                <a:cubicBezTo>
                  <a:pt x="128" y="320"/>
                  <a:pt x="128" y="320"/>
                  <a:pt x="128" y="320"/>
                </a:cubicBezTo>
                <a:cubicBezTo>
                  <a:pt x="122" y="320"/>
                  <a:pt x="117" y="315"/>
                  <a:pt x="117" y="309"/>
                </a:cubicBezTo>
                <a:cubicBezTo>
                  <a:pt x="117" y="303"/>
                  <a:pt x="122" y="298"/>
                  <a:pt x="128" y="298"/>
                </a:cubicBezTo>
                <a:cubicBezTo>
                  <a:pt x="384" y="298"/>
                  <a:pt x="384" y="298"/>
                  <a:pt x="384" y="298"/>
                </a:cubicBezTo>
                <a:cubicBezTo>
                  <a:pt x="390" y="298"/>
                  <a:pt x="394" y="303"/>
                  <a:pt x="394" y="309"/>
                </a:cubicBezTo>
                <a:cubicBezTo>
                  <a:pt x="394" y="315"/>
                  <a:pt x="390" y="320"/>
                  <a:pt x="384" y="320"/>
                </a:cubicBezTo>
                <a:close/>
                <a:moveTo>
                  <a:pt x="384" y="213"/>
                </a:moveTo>
                <a:cubicBezTo>
                  <a:pt x="128" y="213"/>
                  <a:pt x="128" y="213"/>
                  <a:pt x="128" y="213"/>
                </a:cubicBezTo>
                <a:cubicBezTo>
                  <a:pt x="122" y="213"/>
                  <a:pt x="117" y="208"/>
                  <a:pt x="117" y="202"/>
                </a:cubicBezTo>
                <a:cubicBezTo>
                  <a:pt x="117" y="196"/>
                  <a:pt x="122" y="192"/>
                  <a:pt x="128" y="192"/>
                </a:cubicBezTo>
                <a:cubicBezTo>
                  <a:pt x="384" y="192"/>
                  <a:pt x="384" y="192"/>
                  <a:pt x="384" y="192"/>
                </a:cubicBezTo>
                <a:cubicBezTo>
                  <a:pt x="390" y="192"/>
                  <a:pt x="394" y="196"/>
                  <a:pt x="394" y="202"/>
                </a:cubicBezTo>
                <a:cubicBezTo>
                  <a:pt x="394" y="208"/>
                  <a:pt x="390" y="213"/>
                  <a:pt x="384" y="213"/>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8" name="TextBox 47"/>
          <p:cNvSpPr txBox="1"/>
          <p:nvPr/>
        </p:nvSpPr>
        <p:spPr>
          <a:xfrm>
            <a:off x="3035300" y="2314180"/>
            <a:ext cx="2002866" cy="184666"/>
          </a:xfrm>
          <a:prstGeom prst="rect">
            <a:avLst/>
          </a:prstGeom>
          <a:noFill/>
        </p:spPr>
        <p:txBody>
          <a:bodyPr wrap="square" lIns="0" tIns="0" rIns="0" bIns="0" rtlCol="0">
            <a:spAutoFit/>
          </a:bodyPr>
          <a:lstStyle/>
          <a:p>
            <a:pPr>
              <a:spcBef>
                <a:spcPts val="0"/>
              </a:spcBef>
              <a:spcAft>
                <a:spcPts val="1000"/>
              </a:spcAft>
              <a:buSzPct val="100000"/>
            </a:pPr>
            <a:r>
              <a:rPr lang="en-GB" sz="1200" noProof="0" dirty="0" smtClean="0">
                <a:solidFill>
                  <a:schemeClr val="tx1"/>
                </a:solidFill>
              </a:rPr>
              <a:t>Same as 2016/17</a:t>
            </a:r>
          </a:p>
        </p:txBody>
      </p:sp>
      <p:sp>
        <p:nvSpPr>
          <p:cNvPr id="49" name="Freeform 964"/>
          <p:cNvSpPr>
            <a:spLocks noChangeAspect="1" noEditPoints="1"/>
          </p:cNvSpPr>
          <p:nvPr/>
        </p:nvSpPr>
        <p:spPr bwMode="auto">
          <a:xfrm>
            <a:off x="2783404" y="2994678"/>
            <a:ext cx="1440000" cy="144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199 h 512"/>
              <a:gd name="T12" fmla="*/ 263 w 512"/>
              <a:gd name="T13" fmla="*/ 349 h 512"/>
              <a:gd name="T14" fmla="*/ 256 w 512"/>
              <a:gd name="T15" fmla="*/ 352 h 512"/>
              <a:gd name="T16" fmla="*/ 248 w 512"/>
              <a:gd name="T17" fmla="*/ 349 h 512"/>
              <a:gd name="T18" fmla="*/ 99 w 512"/>
              <a:gd name="T19" fmla="*/ 199 h 512"/>
              <a:gd name="T20" fmla="*/ 99 w 512"/>
              <a:gd name="T21" fmla="*/ 184 h 512"/>
              <a:gd name="T22" fmla="*/ 114 w 512"/>
              <a:gd name="T23" fmla="*/ 184 h 512"/>
              <a:gd name="T24" fmla="*/ 256 w 512"/>
              <a:gd name="T25" fmla="*/ 326 h 512"/>
              <a:gd name="T26" fmla="*/ 397 w 512"/>
              <a:gd name="T27" fmla="*/ 184 h 512"/>
              <a:gd name="T28" fmla="*/ 413 w 512"/>
              <a:gd name="T29" fmla="*/ 184 h 512"/>
              <a:gd name="T30" fmla="*/ 413 w 512"/>
              <a:gd name="T31"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199"/>
                </a:moveTo>
                <a:cubicBezTo>
                  <a:pt x="263" y="349"/>
                  <a:pt x="263" y="349"/>
                  <a:pt x="263" y="349"/>
                </a:cubicBezTo>
                <a:cubicBezTo>
                  <a:pt x="261" y="351"/>
                  <a:pt x="258" y="352"/>
                  <a:pt x="256" y="352"/>
                </a:cubicBezTo>
                <a:cubicBezTo>
                  <a:pt x="253" y="352"/>
                  <a:pt x="250" y="351"/>
                  <a:pt x="248" y="349"/>
                </a:cubicBezTo>
                <a:cubicBezTo>
                  <a:pt x="99" y="199"/>
                  <a:pt x="99" y="199"/>
                  <a:pt x="99" y="199"/>
                </a:cubicBezTo>
                <a:cubicBezTo>
                  <a:pt x="95" y="195"/>
                  <a:pt x="95" y="188"/>
                  <a:pt x="99" y="184"/>
                </a:cubicBezTo>
                <a:cubicBezTo>
                  <a:pt x="103" y="180"/>
                  <a:pt x="110" y="180"/>
                  <a:pt x="114" y="184"/>
                </a:cubicBezTo>
                <a:cubicBezTo>
                  <a:pt x="256" y="326"/>
                  <a:pt x="256" y="326"/>
                  <a:pt x="256" y="326"/>
                </a:cubicBezTo>
                <a:cubicBezTo>
                  <a:pt x="397" y="184"/>
                  <a:pt x="397" y="184"/>
                  <a:pt x="397" y="184"/>
                </a:cubicBezTo>
                <a:cubicBezTo>
                  <a:pt x="402" y="180"/>
                  <a:pt x="408" y="180"/>
                  <a:pt x="413" y="184"/>
                </a:cubicBezTo>
                <a:cubicBezTo>
                  <a:pt x="417" y="188"/>
                  <a:pt x="417" y="195"/>
                  <a:pt x="413" y="19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Rectangular Callout 49"/>
          <p:cNvSpPr/>
          <p:nvPr/>
        </p:nvSpPr>
        <p:spPr bwMode="gray">
          <a:xfrm>
            <a:off x="554330" y="3648567"/>
            <a:ext cx="1685369" cy="991779"/>
          </a:xfrm>
          <a:prstGeom prst="wedgeRectCallout">
            <a:avLst>
              <a:gd name="adj1" fmla="val 74990"/>
              <a:gd name="adj2" fmla="val -49569"/>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r>
              <a:rPr lang="en-US" sz="1400" dirty="0" smtClean="0">
                <a:solidFill>
                  <a:schemeClr val="tx1"/>
                </a:solidFill>
              </a:rPr>
              <a:t>14 ‘green’ topic areas compared with 17 in 2016/17</a:t>
            </a:r>
            <a:endParaRPr lang="en-US" sz="1400" dirty="0">
              <a:solidFill>
                <a:schemeClr val="tx1"/>
              </a:solidFill>
            </a:endParaRPr>
          </a:p>
        </p:txBody>
      </p:sp>
      <p:sp>
        <p:nvSpPr>
          <p:cNvPr id="51" name="Freeform 964"/>
          <p:cNvSpPr>
            <a:spLocks noChangeAspect="1" noEditPoints="1"/>
          </p:cNvSpPr>
          <p:nvPr/>
        </p:nvSpPr>
        <p:spPr bwMode="auto">
          <a:xfrm flipV="1">
            <a:off x="1133854" y="4971148"/>
            <a:ext cx="1440000" cy="144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3 w 512"/>
              <a:gd name="T11" fmla="*/ 199 h 512"/>
              <a:gd name="T12" fmla="*/ 263 w 512"/>
              <a:gd name="T13" fmla="*/ 349 h 512"/>
              <a:gd name="T14" fmla="*/ 256 w 512"/>
              <a:gd name="T15" fmla="*/ 352 h 512"/>
              <a:gd name="T16" fmla="*/ 248 w 512"/>
              <a:gd name="T17" fmla="*/ 349 h 512"/>
              <a:gd name="T18" fmla="*/ 99 w 512"/>
              <a:gd name="T19" fmla="*/ 199 h 512"/>
              <a:gd name="T20" fmla="*/ 99 w 512"/>
              <a:gd name="T21" fmla="*/ 184 h 512"/>
              <a:gd name="T22" fmla="*/ 114 w 512"/>
              <a:gd name="T23" fmla="*/ 184 h 512"/>
              <a:gd name="T24" fmla="*/ 256 w 512"/>
              <a:gd name="T25" fmla="*/ 326 h 512"/>
              <a:gd name="T26" fmla="*/ 397 w 512"/>
              <a:gd name="T27" fmla="*/ 184 h 512"/>
              <a:gd name="T28" fmla="*/ 413 w 512"/>
              <a:gd name="T29" fmla="*/ 184 h 512"/>
              <a:gd name="T30" fmla="*/ 413 w 512"/>
              <a:gd name="T31" fmla="*/ 19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3" y="199"/>
                </a:moveTo>
                <a:cubicBezTo>
                  <a:pt x="263" y="349"/>
                  <a:pt x="263" y="349"/>
                  <a:pt x="263" y="349"/>
                </a:cubicBezTo>
                <a:cubicBezTo>
                  <a:pt x="261" y="351"/>
                  <a:pt x="258" y="352"/>
                  <a:pt x="256" y="352"/>
                </a:cubicBezTo>
                <a:cubicBezTo>
                  <a:pt x="253" y="352"/>
                  <a:pt x="250" y="351"/>
                  <a:pt x="248" y="349"/>
                </a:cubicBezTo>
                <a:cubicBezTo>
                  <a:pt x="99" y="199"/>
                  <a:pt x="99" y="199"/>
                  <a:pt x="99" y="199"/>
                </a:cubicBezTo>
                <a:cubicBezTo>
                  <a:pt x="95" y="195"/>
                  <a:pt x="95" y="188"/>
                  <a:pt x="99" y="184"/>
                </a:cubicBezTo>
                <a:cubicBezTo>
                  <a:pt x="103" y="180"/>
                  <a:pt x="110" y="180"/>
                  <a:pt x="114" y="184"/>
                </a:cubicBezTo>
                <a:cubicBezTo>
                  <a:pt x="256" y="326"/>
                  <a:pt x="256" y="326"/>
                  <a:pt x="256" y="326"/>
                </a:cubicBezTo>
                <a:cubicBezTo>
                  <a:pt x="397" y="184"/>
                  <a:pt x="397" y="184"/>
                  <a:pt x="397" y="184"/>
                </a:cubicBezTo>
                <a:cubicBezTo>
                  <a:pt x="402" y="180"/>
                  <a:pt x="408" y="180"/>
                  <a:pt x="413" y="184"/>
                </a:cubicBezTo>
                <a:cubicBezTo>
                  <a:pt x="417" y="188"/>
                  <a:pt x="417" y="195"/>
                  <a:pt x="413" y="199"/>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Rectangular Callout 51"/>
          <p:cNvSpPr/>
          <p:nvPr/>
        </p:nvSpPr>
        <p:spPr bwMode="gray">
          <a:xfrm>
            <a:off x="3712883" y="5176373"/>
            <a:ext cx="2815571" cy="862477"/>
          </a:xfrm>
          <a:prstGeom prst="wedgeRectCallout">
            <a:avLst>
              <a:gd name="adj1" fmla="val -85699"/>
              <a:gd name="adj2" fmla="val 1871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r>
              <a:rPr lang="en-US" sz="1400" dirty="0" smtClean="0">
                <a:solidFill>
                  <a:schemeClr val="tx1"/>
                </a:solidFill>
              </a:rPr>
              <a:t>Nine ‘amber’ topic areas – an increase from three reported in 2016/17</a:t>
            </a:r>
          </a:p>
        </p:txBody>
      </p:sp>
      <p:sp>
        <p:nvSpPr>
          <p:cNvPr id="53" name="Freeform 575"/>
          <p:cNvSpPr>
            <a:spLocks noChangeAspect="1" noEditPoints="1"/>
          </p:cNvSpPr>
          <p:nvPr/>
        </p:nvSpPr>
        <p:spPr bwMode="auto">
          <a:xfrm>
            <a:off x="5129512" y="1392840"/>
            <a:ext cx="1440000" cy="1435774"/>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62 h 512"/>
              <a:gd name="T12" fmla="*/ 320 w 512"/>
              <a:gd name="T13" fmla="*/ 384 h 512"/>
              <a:gd name="T14" fmla="*/ 224 w 512"/>
              <a:gd name="T15" fmla="*/ 384 h 512"/>
              <a:gd name="T16" fmla="*/ 191 w 512"/>
              <a:gd name="T17" fmla="*/ 373 h 512"/>
              <a:gd name="T18" fmla="*/ 106 w 512"/>
              <a:gd name="T19" fmla="*/ 373 h 512"/>
              <a:gd name="T20" fmla="*/ 96 w 512"/>
              <a:gd name="T21" fmla="*/ 362 h 512"/>
              <a:gd name="T22" fmla="*/ 96 w 512"/>
              <a:gd name="T23" fmla="*/ 245 h 512"/>
              <a:gd name="T24" fmla="*/ 106 w 512"/>
              <a:gd name="T25" fmla="*/ 234 h 512"/>
              <a:gd name="T26" fmla="*/ 175 w 512"/>
              <a:gd name="T27" fmla="*/ 234 h 512"/>
              <a:gd name="T28" fmla="*/ 184 w 512"/>
              <a:gd name="T29" fmla="*/ 220 h 512"/>
              <a:gd name="T30" fmla="*/ 185 w 512"/>
              <a:gd name="T31" fmla="*/ 218 h 512"/>
              <a:gd name="T32" fmla="*/ 280 w 512"/>
              <a:gd name="T33" fmla="*/ 110 h 512"/>
              <a:gd name="T34" fmla="*/ 287 w 512"/>
              <a:gd name="T35" fmla="*/ 106 h 512"/>
              <a:gd name="T36" fmla="*/ 295 w 512"/>
              <a:gd name="T37" fmla="*/ 109 h 512"/>
              <a:gd name="T38" fmla="*/ 309 w 512"/>
              <a:gd name="T39" fmla="*/ 152 h 512"/>
              <a:gd name="T40" fmla="*/ 292 w 512"/>
              <a:gd name="T41" fmla="*/ 202 h 512"/>
              <a:gd name="T42" fmla="*/ 330 w 512"/>
              <a:gd name="T43" fmla="*/ 202 h 512"/>
              <a:gd name="T44" fmla="*/ 394 w 512"/>
              <a:gd name="T45" fmla="*/ 266 h 512"/>
              <a:gd name="T46" fmla="*/ 370 w 512"/>
              <a:gd name="T47" fmla="*/ 362 h 512"/>
              <a:gd name="T48" fmla="*/ 170 w 512"/>
              <a:gd name="T49" fmla="*/ 330 h 512"/>
              <a:gd name="T50" fmla="*/ 174 w 512"/>
              <a:gd name="T51" fmla="*/ 352 h 512"/>
              <a:gd name="T52" fmla="*/ 117 w 512"/>
              <a:gd name="T53" fmla="*/ 352 h 512"/>
              <a:gd name="T54" fmla="*/ 117 w 512"/>
              <a:gd name="T55" fmla="*/ 256 h 512"/>
              <a:gd name="T56" fmla="*/ 170 w 512"/>
              <a:gd name="T57" fmla="*/ 256 h 512"/>
              <a:gd name="T58" fmla="*/ 170 w 512"/>
              <a:gd name="T59" fmla="*/ 256 h 512"/>
              <a:gd name="T60" fmla="*/ 170 w 512"/>
              <a:gd name="T61" fmla="*/ 330 h 512"/>
              <a:gd name="T62" fmla="*/ 373 w 512"/>
              <a:gd name="T63" fmla="*/ 267 h 512"/>
              <a:gd name="T64" fmla="*/ 354 w 512"/>
              <a:gd name="T65" fmla="*/ 348 h 512"/>
              <a:gd name="T66" fmla="*/ 320 w 512"/>
              <a:gd name="T67" fmla="*/ 362 h 512"/>
              <a:gd name="T68" fmla="*/ 224 w 512"/>
              <a:gd name="T69" fmla="*/ 362 h 512"/>
              <a:gd name="T70" fmla="*/ 192 w 512"/>
              <a:gd name="T71" fmla="*/ 330 h 512"/>
              <a:gd name="T72" fmla="*/ 192 w 512"/>
              <a:gd name="T73" fmla="*/ 256 h 512"/>
              <a:gd name="T74" fmla="*/ 200 w 512"/>
              <a:gd name="T75" fmla="*/ 233 h 512"/>
              <a:gd name="T76" fmla="*/ 201 w 512"/>
              <a:gd name="T77" fmla="*/ 233 h 512"/>
              <a:gd name="T78" fmla="*/ 287 w 512"/>
              <a:gd name="T79" fmla="*/ 134 h 512"/>
              <a:gd name="T80" fmla="*/ 288 w 512"/>
              <a:gd name="T81" fmla="*/ 146 h 512"/>
              <a:gd name="T82" fmla="*/ 267 w 512"/>
              <a:gd name="T83" fmla="*/ 210 h 512"/>
              <a:gd name="T84" fmla="*/ 267 w 512"/>
              <a:gd name="T85" fmla="*/ 210 h 512"/>
              <a:gd name="T86" fmla="*/ 266 w 512"/>
              <a:gd name="T87" fmla="*/ 213 h 512"/>
              <a:gd name="T88" fmla="*/ 277 w 512"/>
              <a:gd name="T89" fmla="*/ 224 h 512"/>
              <a:gd name="T90" fmla="*/ 330 w 512"/>
              <a:gd name="T91" fmla="*/ 224 h 512"/>
              <a:gd name="T92" fmla="*/ 373 w 512"/>
              <a:gd name="T93" fmla="*/ 2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62"/>
                </a:moveTo>
                <a:cubicBezTo>
                  <a:pt x="357" y="377"/>
                  <a:pt x="340" y="384"/>
                  <a:pt x="320" y="384"/>
                </a:cubicBezTo>
                <a:cubicBezTo>
                  <a:pt x="224" y="384"/>
                  <a:pt x="224" y="384"/>
                  <a:pt x="224" y="384"/>
                </a:cubicBezTo>
                <a:cubicBezTo>
                  <a:pt x="211" y="384"/>
                  <a:pt x="200" y="380"/>
                  <a:pt x="191" y="373"/>
                </a:cubicBezTo>
                <a:cubicBezTo>
                  <a:pt x="106" y="373"/>
                  <a:pt x="106" y="373"/>
                  <a:pt x="106" y="373"/>
                </a:cubicBezTo>
                <a:cubicBezTo>
                  <a:pt x="100" y="373"/>
                  <a:pt x="96" y="368"/>
                  <a:pt x="96" y="362"/>
                </a:cubicBezTo>
                <a:cubicBezTo>
                  <a:pt x="96" y="245"/>
                  <a:pt x="96" y="245"/>
                  <a:pt x="96" y="245"/>
                </a:cubicBezTo>
                <a:cubicBezTo>
                  <a:pt x="96" y="239"/>
                  <a:pt x="100" y="234"/>
                  <a:pt x="106" y="234"/>
                </a:cubicBezTo>
                <a:cubicBezTo>
                  <a:pt x="175" y="234"/>
                  <a:pt x="175" y="234"/>
                  <a:pt x="175" y="234"/>
                </a:cubicBezTo>
                <a:cubicBezTo>
                  <a:pt x="177" y="229"/>
                  <a:pt x="180" y="224"/>
                  <a:pt x="184" y="220"/>
                </a:cubicBezTo>
                <a:cubicBezTo>
                  <a:pt x="185" y="218"/>
                  <a:pt x="185" y="218"/>
                  <a:pt x="185" y="218"/>
                </a:cubicBezTo>
                <a:cubicBezTo>
                  <a:pt x="280" y="110"/>
                  <a:pt x="280" y="110"/>
                  <a:pt x="280" y="110"/>
                </a:cubicBezTo>
                <a:cubicBezTo>
                  <a:pt x="282" y="108"/>
                  <a:pt x="284" y="106"/>
                  <a:pt x="287" y="106"/>
                </a:cubicBezTo>
                <a:cubicBezTo>
                  <a:pt x="290" y="106"/>
                  <a:pt x="293" y="107"/>
                  <a:pt x="295" y="109"/>
                </a:cubicBezTo>
                <a:cubicBezTo>
                  <a:pt x="296" y="110"/>
                  <a:pt x="315" y="129"/>
                  <a:pt x="309" y="152"/>
                </a:cubicBezTo>
                <a:cubicBezTo>
                  <a:pt x="292" y="202"/>
                  <a:pt x="292" y="202"/>
                  <a:pt x="292" y="202"/>
                </a:cubicBezTo>
                <a:cubicBezTo>
                  <a:pt x="330" y="202"/>
                  <a:pt x="330" y="202"/>
                  <a:pt x="330" y="202"/>
                </a:cubicBezTo>
                <a:cubicBezTo>
                  <a:pt x="361" y="202"/>
                  <a:pt x="394" y="235"/>
                  <a:pt x="394" y="266"/>
                </a:cubicBezTo>
                <a:cubicBezTo>
                  <a:pt x="395" y="268"/>
                  <a:pt x="400" y="329"/>
                  <a:pt x="370" y="362"/>
                </a:cubicBezTo>
                <a:close/>
                <a:moveTo>
                  <a:pt x="170" y="330"/>
                </a:moveTo>
                <a:cubicBezTo>
                  <a:pt x="170" y="338"/>
                  <a:pt x="172" y="345"/>
                  <a:pt x="174" y="352"/>
                </a:cubicBezTo>
                <a:cubicBezTo>
                  <a:pt x="117" y="352"/>
                  <a:pt x="117" y="352"/>
                  <a:pt x="117" y="352"/>
                </a:cubicBezTo>
                <a:cubicBezTo>
                  <a:pt x="117" y="256"/>
                  <a:pt x="117" y="256"/>
                  <a:pt x="117" y="256"/>
                </a:cubicBezTo>
                <a:cubicBezTo>
                  <a:pt x="170" y="256"/>
                  <a:pt x="170" y="256"/>
                  <a:pt x="170" y="256"/>
                </a:cubicBezTo>
                <a:cubicBezTo>
                  <a:pt x="170" y="256"/>
                  <a:pt x="170" y="256"/>
                  <a:pt x="170" y="256"/>
                </a:cubicBezTo>
                <a:lnTo>
                  <a:pt x="170" y="330"/>
                </a:lnTo>
                <a:close/>
                <a:moveTo>
                  <a:pt x="373" y="267"/>
                </a:moveTo>
                <a:cubicBezTo>
                  <a:pt x="373" y="268"/>
                  <a:pt x="378" y="322"/>
                  <a:pt x="354" y="348"/>
                </a:cubicBezTo>
                <a:cubicBezTo>
                  <a:pt x="346" y="358"/>
                  <a:pt x="334" y="362"/>
                  <a:pt x="320" y="362"/>
                </a:cubicBezTo>
                <a:cubicBezTo>
                  <a:pt x="224" y="362"/>
                  <a:pt x="224" y="362"/>
                  <a:pt x="224" y="362"/>
                </a:cubicBezTo>
                <a:cubicBezTo>
                  <a:pt x="205" y="362"/>
                  <a:pt x="192" y="349"/>
                  <a:pt x="192" y="330"/>
                </a:cubicBezTo>
                <a:cubicBezTo>
                  <a:pt x="192" y="256"/>
                  <a:pt x="192" y="256"/>
                  <a:pt x="192" y="256"/>
                </a:cubicBezTo>
                <a:cubicBezTo>
                  <a:pt x="192" y="248"/>
                  <a:pt x="195" y="240"/>
                  <a:pt x="200" y="233"/>
                </a:cubicBezTo>
                <a:cubicBezTo>
                  <a:pt x="201" y="233"/>
                  <a:pt x="201" y="233"/>
                  <a:pt x="201" y="233"/>
                </a:cubicBezTo>
                <a:cubicBezTo>
                  <a:pt x="287" y="134"/>
                  <a:pt x="287" y="134"/>
                  <a:pt x="287" y="134"/>
                </a:cubicBezTo>
                <a:cubicBezTo>
                  <a:pt x="288" y="138"/>
                  <a:pt x="289" y="142"/>
                  <a:pt x="288" y="146"/>
                </a:cubicBezTo>
                <a:cubicBezTo>
                  <a:pt x="267" y="210"/>
                  <a:pt x="267" y="210"/>
                  <a:pt x="267" y="210"/>
                </a:cubicBezTo>
                <a:cubicBezTo>
                  <a:pt x="267" y="210"/>
                  <a:pt x="267" y="210"/>
                  <a:pt x="267" y="210"/>
                </a:cubicBezTo>
                <a:cubicBezTo>
                  <a:pt x="267" y="211"/>
                  <a:pt x="266" y="212"/>
                  <a:pt x="266" y="213"/>
                </a:cubicBezTo>
                <a:cubicBezTo>
                  <a:pt x="266" y="219"/>
                  <a:pt x="271" y="224"/>
                  <a:pt x="277" y="224"/>
                </a:cubicBezTo>
                <a:cubicBezTo>
                  <a:pt x="330" y="224"/>
                  <a:pt x="330" y="224"/>
                  <a:pt x="330" y="224"/>
                </a:cubicBezTo>
                <a:cubicBezTo>
                  <a:pt x="349" y="224"/>
                  <a:pt x="373" y="247"/>
                  <a:pt x="373" y="267"/>
                </a:cubicBezTo>
                <a:close/>
              </a:path>
            </a:pathLst>
          </a:custGeom>
          <a:solidFill>
            <a:srgbClr val="C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Rectangular Callout 54"/>
          <p:cNvSpPr/>
          <p:nvPr/>
        </p:nvSpPr>
        <p:spPr bwMode="gray">
          <a:xfrm>
            <a:off x="7062632" y="913016"/>
            <a:ext cx="1356716" cy="734809"/>
          </a:xfrm>
          <a:prstGeom prst="wedgeRectCallout">
            <a:avLst>
              <a:gd name="adj1" fmla="val -87210"/>
              <a:gd name="adj2" fmla="val 45510"/>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r>
              <a:rPr lang="en-US" sz="1400" dirty="0" smtClean="0">
                <a:solidFill>
                  <a:schemeClr val="tx1"/>
                </a:solidFill>
              </a:rPr>
              <a:t>No ‘red’ topic areas </a:t>
            </a:r>
            <a:endParaRPr lang="en-US" sz="1400" dirty="0">
              <a:solidFill>
                <a:schemeClr val="tx1"/>
              </a:solidFill>
            </a:endParaRPr>
          </a:p>
        </p:txBody>
      </p:sp>
      <p:sp>
        <p:nvSpPr>
          <p:cNvPr id="56" name="Freeform 783"/>
          <p:cNvSpPr>
            <a:spLocks noChangeAspect="1" noEditPoints="1"/>
          </p:cNvSpPr>
          <p:nvPr/>
        </p:nvSpPr>
        <p:spPr bwMode="auto">
          <a:xfrm>
            <a:off x="4741827" y="3365526"/>
            <a:ext cx="1440000" cy="1440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88 w 512"/>
              <a:gd name="T11" fmla="*/ 266 h 512"/>
              <a:gd name="T12" fmla="*/ 280 w 512"/>
              <a:gd name="T13" fmla="*/ 263 h 512"/>
              <a:gd name="T14" fmla="*/ 266 w 512"/>
              <a:gd name="T15" fmla="*/ 249 h 512"/>
              <a:gd name="T16" fmla="*/ 266 w 512"/>
              <a:gd name="T17" fmla="*/ 373 h 512"/>
              <a:gd name="T18" fmla="*/ 256 w 512"/>
              <a:gd name="T19" fmla="*/ 384 h 512"/>
              <a:gd name="T20" fmla="*/ 245 w 512"/>
              <a:gd name="T21" fmla="*/ 373 h 512"/>
              <a:gd name="T22" fmla="*/ 245 w 512"/>
              <a:gd name="T23" fmla="*/ 249 h 512"/>
              <a:gd name="T24" fmla="*/ 231 w 512"/>
              <a:gd name="T25" fmla="*/ 263 h 512"/>
              <a:gd name="T26" fmla="*/ 216 w 512"/>
              <a:gd name="T27" fmla="*/ 263 h 512"/>
              <a:gd name="T28" fmla="*/ 216 w 512"/>
              <a:gd name="T29" fmla="*/ 248 h 512"/>
              <a:gd name="T30" fmla="*/ 248 w 512"/>
              <a:gd name="T31" fmla="*/ 216 h 512"/>
              <a:gd name="T32" fmla="*/ 252 w 512"/>
              <a:gd name="T33" fmla="*/ 214 h 512"/>
              <a:gd name="T34" fmla="*/ 260 w 512"/>
              <a:gd name="T35" fmla="*/ 214 h 512"/>
              <a:gd name="T36" fmla="*/ 263 w 512"/>
              <a:gd name="T37" fmla="*/ 216 h 512"/>
              <a:gd name="T38" fmla="*/ 295 w 512"/>
              <a:gd name="T39" fmla="*/ 248 h 512"/>
              <a:gd name="T40" fmla="*/ 295 w 512"/>
              <a:gd name="T41" fmla="*/ 263 h 512"/>
              <a:gd name="T42" fmla="*/ 288 w 512"/>
              <a:gd name="T43" fmla="*/ 266 h 512"/>
              <a:gd name="T44" fmla="*/ 362 w 512"/>
              <a:gd name="T45" fmla="*/ 320 h 512"/>
              <a:gd name="T46" fmla="*/ 309 w 512"/>
              <a:gd name="T47" fmla="*/ 320 h 512"/>
              <a:gd name="T48" fmla="*/ 298 w 512"/>
              <a:gd name="T49" fmla="*/ 309 h 512"/>
              <a:gd name="T50" fmla="*/ 309 w 512"/>
              <a:gd name="T51" fmla="*/ 298 h 512"/>
              <a:gd name="T52" fmla="*/ 362 w 512"/>
              <a:gd name="T53" fmla="*/ 298 h 512"/>
              <a:gd name="T54" fmla="*/ 394 w 512"/>
              <a:gd name="T55" fmla="*/ 266 h 512"/>
              <a:gd name="T56" fmla="*/ 362 w 512"/>
              <a:gd name="T57" fmla="*/ 234 h 512"/>
              <a:gd name="T58" fmla="*/ 351 w 512"/>
              <a:gd name="T59" fmla="*/ 238 h 512"/>
              <a:gd name="T60" fmla="*/ 339 w 512"/>
              <a:gd name="T61" fmla="*/ 237 h 512"/>
              <a:gd name="T62" fmla="*/ 335 w 512"/>
              <a:gd name="T63" fmla="*/ 227 h 512"/>
              <a:gd name="T64" fmla="*/ 336 w 512"/>
              <a:gd name="T65" fmla="*/ 222 h 512"/>
              <a:gd name="T66" fmla="*/ 337 w 512"/>
              <a:gd name="T67" fmla="*/ 214 h 512"/>
              <a:gd name="T68" fmla="*/ 272 w 512"/>
              <a:gd name="T69" fmla="*/ 149 h 512"/>
              <a:gd name="T70" fmla="*/ 207 w 512"/>
              <a:gd name="T71" fmla="*/ 201 h 512"/>
              <a:gd name="T72" fmla="*/ 201 w 512"/>
              <a:gd name="T73" fmla="*/ 208 h 512"/>
              <a:gd name="T74" fmla="*/ 191 w 512"/>
              <a:gd name="T75" fmla="*/ 207 h 512"/>
              <a:gd name="T76" fmla="*/ 167 w 512"/>
              <a:gd name="T77" fmla="*/ 199 h 512"/>
              <a:gd name="T78" fmla="*/ 117 w 512"/>
              <a:gd name="T79" fmla="*/ 249 h 512"/>
              <a:gd name="T80" fmla="*/ 167 w 512"/>
              <a:gd name="T81" fmla="*/ 298 h 512"/>
              <a:gd name="T82" fmla="*/ 202 w 512"/>
              <a:gd name="T83" fmla="*/ 298 h 512"/>
              <a:gd name="T84" fmla="*/ 213 w 512"/>
              <a:gd name="T85" fmla="*/ 309 h 512"/>
              <a:gd name="T86" fmla="*/ 202 w 512"/>
              <a:gd name="T87" fmla="*/ 320 h 512"/>
              <a:gd name="T88" fmla="*/ 167 w 512"/>
              <a:gd name="T89" fmla="*/ 320 h 512"/>
              <a:gd name="T90" fmla="*/ 96 w 512"/>
              <a:gd name="T91" fmla="*/ 249 h 512"/>
              <a:gd name="T92" fmla="*/ 167 w 512"/>
              <a:gd name="T93" fmla="*/ 178 h 512"/>
              <a:gd name="T94" fmla="*/ 190 w 512"/>
              <a:gd name="T95" fmla="*/ 183 h 512"/>
              <a:gd name="T96" fmla="*/ 272 w 512"/>
              <a:gd name="T97" fmla="*/ 128 h 512"/>
              <a:gd name="T98" fmla="*/ 358 w 512"/>
              <a:gd name="T99" fmla="*/ 213 h 512"/>
              <a:gd name="T100" fmla="*/ 362 w 512"/>
              <a:gd name="T101" fmla="*/ 213 h 512"/>
              <a:gd name="T102" fmla="*/ 416 w 512"/>
              <a:gd name="T103" fmla="*/ 266 h 512"/>
              <a:gd name="T104" fmla="*/ 362 w 512"/>
              <a:gd name="T105" fmla="*/ 32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88" y="266"/>
                </a:moveTo>
                <a:cubicBezTo>
                  <a:pt x="285" y="266"/>
                  <a:pt x="282" y="265"/>
                  <a:pt x="280" y="263"/>
                </a:cubicBezTo>
                <a:cubicBezTo>
                  <a:pt x="266" y="249"/>
                  <a:pt x="266" y="249"/>
                  <a:pt x="266" y="249"/>
                </a:cubicBezTo>
                <a:cubicBezTo>
                  <a:pt x="266" y="373"/>
                  <a:pt x="266" y="373"/>
                  <a:pt x="266" y="373"/>
                </a:cubicBezTo>
                <a:cubicBezTo>
                  <a:pt x="266" y="379"/>
                  <a:pt x="262" y="384"/>
                  <a:pt x="256" y="384"/>
                </a:cubicBezTo>
                <a:cubicBezTo>
                  <a:pt x="250" y="384"/>
                  <a:pt x="245" y="379"/>
                  <a:pt x="245" y="373"/>
                </a:cubicBezTo>
                <a:cubicBezTo>
                  <a:pt x="245" y="249"/>
                  <a:pt x="245" y="249"/>
                  <a:pt x="245" y="249"/>
                </a:cubicBezTo>
                <a:cubicBezTo>
                  <a:pt x="231" y="263"/>
                  <a:pt x="231" y="263"/>
                  <a:pt x="231" y="263"/>
                </a:cubicBezTo>
                <a:cubicBezTo>
                  <a:pt x="227" y="267"/>
                  <a:pt x="220" y="267"/>
                  <a:pt x="216" y="263"/>
                </a:cubicBezTo>
                <a:cubicBezTo>
                  <a:pt x="212" y="259"/>
                  <a:pt x="212" y="252"/>
                  <a:pt x="216" y="248"/>
                </a:cubicBezTo>
                <a:cubicBezTo>
                  <a:pt x="248" y="216"/>
                  <a:pt x="248" y="216"/>
                  <a:pt x="248" y="216"/>
                </a:cubicBezTo>
                <a:cubicBezTo>
                  <a:pt x="249" y="215"/>
                  <a:pt x="250" y="214"/>
                  <a:pt x="252" y="214"/>
                </a:cubicBezTo>
                <a:cubicBezTo>
                  <a:pt x="254" y="213"/>
                  <a:pt x="257" y="213"/>
                  <a:pt x="260" y="214"/>
                </a:cubicBezTo>
                <a:cubicBezTo>
                  <a:pt x="261" y="214"/>
                  <a:pt x="262" y="215"/>
                  <a:pt x="263" y="216"/>
                </a:cubicBezTo>
                <a:cubicBezTo>
                  <a:pt x="295" y="248"/>
                  <a:pt x="295" y="248"/>
                  <a:pt x="295" y="248"/>
                </a:cubicBezTo>
                <a:cubicBezTo>
                  <a:pt x="299" y="252"/>
                  <a:pt x="299" y="259"/>
                  <a:pt x="295" y="263"/>
                </a:cubicBezTo>
                <a:cubicBezTo>
                  <a:pt x="293" y="265"/>
                  <a:pt x="290" y="266"/>
                  <a:pt x="288" y="266"/>
                </a:cubicBezTo>
                <a:close/>
                <a:moveTo>
                  <a:pt x="362" y="320"/>
                </a:moveTo>
                <a:cubicBezTo>
                  <a:pt x="309" y="320"/>
                  <a:pt x="309" y="320"/>
                  <a:pt x="309" y="320"/>
                </a:cubicBezTo>
                <a:cubicBezTo>
                  <a:pt x="303" y="320"/>
                  <a:pt x="298" y="315"/>
                  <a:pt x="298" y="309"/>
                </a:cubicBezTo>
                <a:cubicBezTo>
                  <a:pt x="298" y="303"/>
                  <a:pt x="303" y="298"/>
                  <a:pt x="309" y="298"/>
                </a:cubicBezTo>
                <a:cubicBezTo>
                  <a:pt x="362" y="298"/>
                  <a:pt x="362" y="298"/>
                  <a:pt x="362" y="298"/>
                </a:cubicBezTo>
                <a:cubicBezTo>
                  <a:pt x="380" y="298"/>
                  <a:pt x="394" y="284"/>
                  <a:pt x="394" y="266"/>
                </a:cubicBezTo>
                <a:cubicBezTo>
                  <a:pt x="394" y="249"/>
                  <a:pt x="380" y="234"/>
                  <a:pt x="362" y="234"/>
                </a:cubicBezTo>
                <a:cubicBezTo>
                  <a:pt x="361" y="234"/>
                  <a:pt x="357" y="235"/>
                  <a:pt x="351" y="238"/>
                </a:cubicBezTo>
                <a:cubicBezTo>
                  <a:pt x="347" y="240"/>
                  <a:pt x="343" y="240"/>
                  <a:pt x="339" y="237"/>
                </a:cubicBezTo>
                <a:cubicBezTo>
                  <a:pt x="336" y="235"/>
                  <a:pt x="334" y="231"/>
                  <a:pt x="335" y="227"/>
                </a:cubicBezTo>
                <a:cubicBezTo>
                  <a:pt x="336" y="225"/>
                  <a:pt x="336" y="224"/>
                  <a:pt x="336" y="222"/>
                </a:cubicBezTo>
                <a:cubicBezTo>
                  <a:pt x="336" y="219"/>
                  <a:pt x="337" y="217"/>
                  <a:pt x="337" y="214"/>
                </a:cubicBezTo>
                <a:cubicBezTo>
                  <a:pt x="337" y="178"/>
                  <a:pt x="308" y="149"/>
                  <a:pt x="272" y="149"/>
                </a:cubicBezTo>
                <a:cubicBezTo>
                  <a:pt x="241" y="149"/>
                  <a:pt x="213" y="171"/>
                  <a:pt x="207" y="201"/>
                </a:cubicBezTo>
                <a:cubicBezTo>
                  <a:pt x="206" y="204"/>
                  <a:pt x="204" y="207"/>
                  <a:pt x="201" y="208"/>
                </a:cubicBezTo>
                <a:cubicBezTo>
                  <a:pt x="197" y="210"/>
                  <a:pt x="194" y="209"/>
                  <a:pt x="191" y="207"/>
                </a:cubicBezTo>
                <a:cubicBezTo>
                  <a:pt x="183" y="202"/>
                  <a:pt x="176" y="199"/>
                  <a:pt x="167" y="199"/>
                </a:cubicBezTo>
                <a:cubicBezTo>
                  <a:pt x="139" y="199"/>
                  <a:pt x="117" y="221"/>
                  <a:pt x="117" y="249"/>
                </a:cubicBezTo>
                <a:cubicBezTo>
                  <a:pt x="117" y="276"/>
                  <a:pt x="139" y="298"/>
                  <a:pt x="167" y="298"/>
                </a:cubicBezTo>
                <a:cubicBezTo>
                  <a:pt x="202" y="298"/>
                  <a:pt x="202" y="298"/>
                  <a:pt x="202" y="298"/>
                </a:cubicBezTo>
                <a:cubicBezTo>
                  <a:pt x="208" y="298"/>
                  <a:pt x="213" y="303"/>
                  <a:pt x="213" y="309"/>
                </a:cubicBezTo>
                <a:cubicBezTo>
                  <a:pt x="213" y="315"/>
                  <a:pt x="208" y="320"/>
                  <a:pt x="202" y="320"/>
                </a:cubicBezTo>
                <a:cubicBezTo>
                  <a:pt x="167" y="320"/>
                  <a:pt x="167" y="320"/>
                  <a:pt x="167" y="320"/>
                </a:cubicBezTo>
                <a:cubicBezTo>
                  <a:pt x="127" y="320"/>
                  <a:pt x="96" y="288"/>
                  <a:pt x="96" y="249"/>
                </a:cubicBezTo>
                <a:cubicBezTo>
                  <a:pt x="96" y="210"/>
                  <a:pt x="127" y="178"/>
                  <a:pt x="167" y="178"/>
                </a:cubicBezTo>
                <a:cubicBezTo>
                  <a:pt x="176" y="178"/>
                  <a:pt x="183" y="180"/>
                  <a:pt x="190" y="183"/>
                </a:cubicBezTo>
                <a:cubicBezTo>
                  <a:pt x="203" y="150"/>
                  <a:pt x="235" y="128"/>
                  <a:pt x="272" y="128"/>
                </a:cubicBezTo>
                <a:cubicBezTo>
                  <a:pt x="319" y="128"/>
                  <a:pt x="358" y="166"/>
                  <a:pt x="358" y="213"/>
                </a:cubicBezTo>
                <a:cubicBezTo>
                  <a:pt x="360" y="213"/>
                  <a:pt x="361" y="213"/>
                  <a:pt x="362" y="213"/>
                </a:cubicBezTo>
                <a:cubicBezTo>
                  <a:pt x="392" y="213"/>
                  <a:pt x="416" y="237"/>
                  <a:pt x="416" y="266"/>
                </a:cubicBezTo>
                <a:cubicBezTo>
                  <a:pt x="416" y="296"/>
                  <a:pt x="392" y="320"/>
                  <a:pt x="362" y="320"/>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7" name="Rectangular Callout 56"/>
          <p:cNvSpPr/>
          <p:nvPr/>
        </p:nvSpPr>
        <p:spPr bwMode="gray">
          <a:xfrm>
            <a:off x="6619133" y="3835520"/>
            <a:ext cx="2064822" cy="970006"/>
          </a:xfrm>
          <a:prstGeom prst="wedgeRectCallout">
            <a:avLst>
              <a:gd name="adj1" fmla="val -68893"/>
              <a:gd name="adj2" fmla="val -5301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r>
              <a:rPr lang="en-GB" sz="1400"/>
              <a:t>Three areas have moved from a green to an ‘amber’ topic area</a:t>
            </a:r>
            <a:endParaRPr lang="en-US" sz="1400" dirty="0"/>
          </a:p>
        </p:txBody>
      </p:sp>
      <p:sp>
        <p:nvSpPr>
          <p:cNvPr id="60" name="Title 1"/>
          <p:cNvSpPr>
            <a:spLocks noGrp="1"/>
          </p:cNvSpPr>
          <p:nvPr>
            <p:ph type="title"/>
          </p:nvPr>
        </p:nvSpPr>
        <p:spPr>
          <a:xfrm>
            <a:off x="376238" y="317499"/>
            <a:ext cx="8371762" cy="698501"/>
          </a:xfrm>
        </p:spPr>
        <p:txBody>
          <a:bodyPr/>
          <a:lstStyle/>
          <a:p>
            <a:r>
              <a:rPr lang="en-GB" dirty="0" smtClean="0"/>
              <a:t>Summary Results 2017/18</a:t>
            </a:r>
            <a:endParaRPr lang="en-GB" dirty="0"/>
          </a:p>
        </p:txBody>
      </p:sp>
      <p:sp>
        <p:nvSpPr>
          <p:cNvPr id="61" name="Text Placeholder 2"/>
          <p:cNvSpPr>
            <a:spLocks noGrp="1"/>
          </p:cNvSpPr>
          <p:nvPr>
            <p:ph type="body" sz="quarter" idx="13"/>
          </p:nvPr>
        </p:nvSpPr>
        <p:spPr>
          <a:xfrm>
            <a:off x="376238" y="651600"/>
            <a:ext cx="8371762" cy="757255"/>
          </a:xfrm>
        </p:spPr>
        <p:txBody>
          <a:bodyPr/>
          <a:lstStyle/>
          <a:p>
            <a:r>
              <a:rPr lang="en-GB" dirty="0" smtClean="0"/>
              <a:t>A brief summary of the results and criteria used</a:t>
            </a:r>
            <a:endParaRPr lang="en-GB" dirty="0"/>
          </a:p>
        </p:txBody>
      </p:sp>
      <p:sp>
        <p:nvSpPr>
          <p:cNvPr id="62" name="Footer Placeholder 5"/>
          <p:cNvSpPr>
            <a:spLocks noGrp="1"/>
          </p:cNvSpPr>
          <p:nvPr>
            <p:ph type="ftr" sz="quarter" idx="14"/>
          </p:nvPr>
        </p:nvSpPr>
        <p:spPr>
          <a:xfrm>
            <a:off x="4662488" y="6477000"/>
            <a:ext cx="3761320" cy="244475"/>
          </a:xfrm>
        </p:spPr>
        <p:txBody>
          <a:bodyPr/>
          <a:lstStyle/>
          <a:p>
            <a:r>
              <a:rPr lang="en-GB" dirty="0" smtClean="0"/>
              <a:t>© 2018 Deloitte LLP. Private and Confidential.</a:t>
            </a:r>
            <a:endParaRPr lang="en-GB" dirty="0"/>
          </a:p>
        </p:txBody>
      </p:sp>
    </p:spTree>
    <p:extLst>
      <p:ext uri="{BB962C8B-B14F-4D97-AF65-F5344CB8AC3E}">
        <p14:creationId xmlns:p14="http://schemas.microsoft.com/office/powerpoint/2010/main" val="218919568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University Level and UAS Results (weakest to strongest)</a:t>
            </a:r>
            <a:endParaRPr lang="en-GB" dirty="0"/>
          </a:p>
        </p:txBody>
      </p:sp>
      <p:sp>
        <p:nvSpPr>
          <p:cNvPr id="4" name="Content Placeholder 3"/>
          <p:cNvSpPr>
            <a:spLocks noGrp="1"/>
          </p:cNvSpPr>
          <p:nvPr>
            <p:ph idx="1"/>
          </p:nvPr>
        </p:nvSpPr>
        <p:spPr>
          <a:xfrm>
            <a:off x="373937" y="647199"/>
            <a:ext cx="8374062" cy="1070089"/>
          </a:xfrm>
        </p:spPr>
        <p:txBody>
          <a:bodyPr/>
          <a:lstStyle/>
          <a:p>
            <a:r>
              <a:rPr lang="en-GB" sz="900" dirty="0" smtClean="0"/>
              <a:t>The diagram below outlines the average score for each of the 23 topic areas of the 2017/18 survey. There are no areas with a weak control environment.</a:t>
            </a:r>
          </a:p>
          <a:p>
            <a:endParaRPr lang="en-GB" sz="900" dirty="0"/>
          </a:p>
          <a:p>
            <a:endParaRPr lang="en-GB" sz="900" dirty="0" smtClean="0"/>
          </a:p>
          <a:p>
            <a:endParaRPr lang="en-GB" sz="900" dirty="0"/>
          </a:p>
          <a:p>
            <a:endParaRPr lang="en-GB" sz="900" dirty="0" smtClean="0"/>
          </a:p>
          <a:p>
            <a:endParaRPr lang="en-GB" sz="900" dirty="0"/>
          </a:p>
          <a:p>
            <a:endParaRPr lang="en-GB" sz="900" dirty="0" smtClean="0"/>
          </a:p>
          <a:p>
            <a:endParaRPr lang="en-GB" sz="900" dirty="0"/>
          </a:p>
          <a:p>
            <a:endParaRPr lang="en-GB" sz="900" dirty="0" smtClean="0"/>
          </a:p>
          <a:p>
            <a:endParaRPr lang="en-GB" sz="900" dirty="0"/>
          </a:p>
          <a:p>
            <a:endParaRPr lang="en-GB" sz="900" dirty="0" smtClean="0"/>
          </a:p>
          <a:p>
            <a:endParaRPr lang="en-GB" sz="900" dirty="0"/>
          </a:p>
          <a:p>
            <a:endParaRPr lang="en-GB" sz="900" dirty="0" smtClean="0"/>
          </a:p>
          <a:p>
            <a:endParaRPr lang="en-GB" sz="900" dirty="0"/>
          </a:p>
          <a:p>
            <a:endParaRPr lang="en-GB" sz="900" dirty="0" smtClean="0"/>
          </a:p>
          <a:p>
            <a:endParaRPr lang="en-GB" sz="900" dirty="0"/>
          </a:p>
          <a:p>
            <a:endParaRPr lang="en-GB" sz="900" dirty="0" smtClean="0"/>
          </a:p>
          <a:p>
            <a:r>
              <a:rPr lang="en-GB" sz="900" dirty="0" smtClean="0"/>
              <a:t>For </a:t>
            </a:r>
            <a:r>
              <a:rPr lang="en-GB" sz="900" dirty="0"/>
              <a:t>the following areas, the score both across UAS respondents as well as across the University was over 3.5, indicating a strong control environment: Trust Funds, Expenses and Advances, Budgetary Controls, Student Feedback, Health and Safety, University issued Credit Cards, Procurement and Purchasing, Cash Handling and Banking, Recruitment, Reward and Payroll, Research Grants and Contracts, and Fixed Assets.</a:t>
            </a:r>
          </a:p>
          <a:p>
            <a:r>
              <a:rPr lang="en-GB" sz="900" i="1" dirty="0"/>
              <a:t>*For Donations, all UAS responded “Not Applicable” to all questions; as such, there is no UAS score for Donations</a:t>
            </a:r>
          </a:p>
          <a:p>
            <a:r>
              <a:rPr lang="en-GB" sz="900" dirty="0" smtClean="0"/>
              <a:t> </a:t>
            </a:r>
          </a:p>
          <a:p>
            <a:endParaRPr lang="en-GB" sz="900" dirty="0"/>
          </a:p>
        </p:txBody>
      </p:sp>
      <p:sp>
        <p:nvSpPr>
          <p:cNvPr id="12" name="TextBox 11"/>
          <p:cNvSpPr txBox="1"/>
          <p:nvPr/>
        </p:nvSpPr>
        <p:spPr>
          <a:xfrm>
            <a:off x="535631" y="6021402"/>
            <a:ext cx="1302462" cy="138499"/>
          </a:xfrm>
          <a:prstGeom prst="rect">
            <a:avLst/>
          </a:prstGeom>
          <a:noFill/>
        </p:spPr>
        <p:txBody>
          <a:bodyPr wrap="square" lIns="0" tIns="0" rIns="0" bIns="0" rtlCol="0">
            <a:spAutoFit/>
          </a:bodyPr>
          <a:lstStyle/>
          <a:p>
            <a:pPr>
              <a:spcAft>
                <a:spcPts val="0"/>
              </a:spcAft>
            </a:pPr>
            <a:r>
              <a:rPr lang="en-GB" sz="900" b="1" dirty="0" smtClean="0">
                <a:latin typeface="Verdana" panose="020B0604030504040204" pitchFamily="34" charset="0"/>
                <a:cs typeface="Verdana" panose="020B0604030504040204" pitchFamily="34" charset="0"/>
              </a:rPr>
              <a:t>Key:</a:t>
            </a:r>
            <a:endParaRPr lang="en-GB" sz="900" b="1" dirty="0">
              <a:latin typeface="Verdana" panose="020B0604030504040204" pitchFamily="34" charset="0"/>
              <a:cs typeface="Verdana" panose="020B0604030504040204" pitchFamily="34" charset="0"/>
            </a:endParaRPr>
          </a:p>
        </p:txBody>
      </p:sp>
      <p:sp>
        <p:nvSpPr>
          <p:cNvPr id="13" name="Rectangle 12"/>
          <p:cNvSpPr/>
          <p:nvPr/>
        </p:nvSpPr>
        <p:spPr>
          <a:xfrm>
            <a:off x="5793059" y="6175720"/>
            <a:ext cx="2442117" cy="253857"/>
          </a:xfrm>
          <a:prstGeom prst="rect">
            <a:avLst/>
          </a:prstGeom>
          <a:solidFill>
            <a:srgbClr val="3CA82E"/>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800" b="1" dirty="0">
                <a:solidFill>
                  <a:schemeClr val="tx1"/>
                </a:solidFill>
              </a:rPr>
              <a:t>Strong Control </a:t>
            </a:r>
            <a:r>
              <a:rPr lang="en-GB" sz="800" b="1" dirty="0" smtClean="0">
                <a:solidFill>
                  <a:schemeClr val="tx1"/>
                </a:solidFill>
              </a:rPr>
              <a:t>Environment (x≥3.5</a:t>
            </a:r>
            <a:r>
              <a:rPr lang="en-GB" sz="800" b="1" dirty="0">
                <a:solidFill>
                  <a:schemeClr val="tx1"/>
                </a:solidFill>
              </a:rPr>
              <a:t>) </a:t>
            </a:r>
          </a:p>
        </p:txBody>
      </p:sp>
      <p:sp>
        <p:nvSpPr>
          <p:cNvPr id="14" name="Rectangle 13"/>
          <p:cNvSpPr/>
          <p:nvPr/>
        </p:nvSpPr>
        <p:spPr>
          <a:xfrm>
            <a:off x="2782230" y="6174030"/>
            <a:ext cx="3010829" cy="251665"/>
          </a:xfrm>
          <a:prstGeom prst="rect">
            <a:avLst/>
          </a:prstGeom>
          <a:solidFill>
            <a:srgbClr val="FFC000"/>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800"/>
              </a:lnSpc>
            </a:pPr>
            <a:endParaRPr lang="en-GB" sz="1100" b="1" dirty="0" smtClean="0">
              <a:solidFill>
                <a:schemeClr val="bg1"/>
              </a:solidFill>
            </a:endParaRPr>
          </a:p>
          <a:p>
            <a:pPr algn="ctr"/>
            <a:r>
              <a:rPr lang="en-GB" sz="800" b="1" dirty="0" smtClean="0">
                <a:solidFill>
                  <a:schemeClr val="tx1"/>
                </a:solidFill>
              </a:rPr>
              <a:t>Satisfactory </a:t>
            </a:r>
            <a:r>
              <a:rPr lang="en-GB" sz="800" b="1" dirty="0">
                <a:solidFill>
                  <a:schemeClr val="tx1"/>
                </a:solidFill>
              </a:rPr>
              <a:t>Control </a:t>
            </a:r>
            <a:r>
              <a:rPr lang="en-GB" sz="800" b="1" dirty="0" smtClean="0">
                <a:solidFill>
                  <a:schemeClr val="tx1"/>
                </a:solidFill>
              </a:rPr>
              <a:t>Environment (2.5 </a:t>
            </a:r>
            <a:r>
              <a:rPr lang="en-GB" sz="800" b="1" dirty="0">
                <a:solidFill>
                  <a:schemeClr val="tx1"/>
                </a:solidFill>
              </a:rPr>
              <a:t>&lt; x &lt; 3</a:t>
            </a:r>
            <a:r>
              <a:rPr lang="en-GB" sz="800" b="1" dirty="0" smtClean="0">
                <a:solidFill>
                  <a:schemeClr val="tx1"/>
                </a:solidFill>
              </a:rPr>
              <a:t>.5)</a:t>
            </a:r>
            <a:endParaRPr lang="en-GB" sz="800" b="1" dirty="0">
              <a:solidFill>
                <a:schemeClr val="tx1"/>
              </a:solidFill>
            </a:endParaRPr>
          </a:p>
          <a:p>
            <a:pPr algn="ctr">
              <a:lnSpc>
                <a:spcPts val="1800"/>
              </a:lnSpc>
            </a:pPr>
            <a:endParaRPr lang="en-GB" sz="1100" b="1" dirty="0">
              <a:solidFill>
                <a:schemeClr val="bg1"/>
              </a:solidFill>
            </a:endParaRPr>
          </a:p>
        </p:txBody>
      </p:sp>
      <p:sp>
        <p:nvSpPr>
          <p:cNvPr id="15" name="Rectangle 14"/>
          <p:cNvSpPr/>
          <p:nvPr/>
        </p:nvSpPr>
        <p:spPr>
          <a:xfrm>
            <a:off x="535631" y="6171838"/>
            <a:ext cx="2246599" cy="253857"/>
          </a:xfrm>
          <a:prstGeom prst="rect">
            <a:avLst/>
          </a:prstGeom>
          <a:solidFill>
            <a:srgbClr val="FF0000"/>
          </a:solidFill>
          <a:ln>
            <a:solidFill>
              <a:schemeClr val="bg2">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1800"/>
              </a:lnSpc>
            </a:pPr>
            <a:endParaRPr lang="en-GB" sz="800" b="1" dirty="0" smtClean="0">
              <a:solidFill>
                <a:schemeClr val="bg1"/>
              </a:solidFill>
            </a:endParaRPr>
          </a:p>
          <a:p>
            <a:pPr algn="ctr">
              <a:lnSpc>
                <a:spcPts val="1800"/>
              </a:lnSpc>
            </a:pPr>
            <a:endParaRPr lang="en-GB" sz="800" b="1" dirty="0" smtClean="0">
              <a:solidFill>
                <a:schemeClr val="bg1"/>
              </a:solidFill>
            </a:endParaRPr>
          </a:p>
          <a:p>
            <a:pPr algn="ctr"/>
            <a:r>
              <a:rPr lang="en-GB" sz="800" b="1" dirty="0" smtClean="0">
                <a:solidFill>
                  <a:schemeClr val="tx1"/>
                </a:solidFill>
              </a:rPr>
              <a:t>Weak </a:t>
            </a:r>
            <a:r>
              <a:rPr lang="en-GB" sz="800" b="1" dirty="0">
                <a:solidFill>
                  <a:schemeClr val="tx1"/>
                </a:solidFill>
              </a:rPr>
              <a:t>Control </a:t>
            </a:r>
            <a:r>
              <a:rPr lang="en-GB" sz="800" b="1" dirty="0" smtClean="0">
                <a:solidFill>
                  <a:schemeClr val="tx1"/>
                </a:solidFill>
              </a:rPr>
              <a:t>Environment (x≤2.5)</a:t>
            </a:r>
            <a:endParaRPr lang="en-GB" sz="800" b="1" dirty="0">
              <a:solidFill>
                <a:schemeClr val="tx1"/>
              </a:solidFill>
            </a:endParaRPr>
          </a:p>
          <a:p>
            <a:pPr algn="ctr">
              <a:lnSpc>
                <a:spcPts val="1800"/>
              </a:lnSpc>
            </a:pPr>
            <a:endParaRPr lang="en-GB" sz="800" b="1" dirty="0">
              <a:solidFill>
                <a:schemeClr val="bg1"/>
              </a:solidFill>
            </a:endParaRPr>
          </a:p>
          <a:p>
            <a:pPr algn="ctr">
              <a:lnSpc>
                <a:spcPts val="1800"/>
              </a:lnSpc>
            </a:pPr>
            <a:endParaRPr lang="en-GB" sz="800" b="1" dirty="0">
              <a:solidFill>
                <a:schemeClr val="bg1"/>
              </a:solidFill>
            </a:endParaRPr>
          </a:p>
        </p:txBody>
      </p:sp>
      <p:sp>
        <p:nvSpPr>
          <p:cNvPr id="5" name="Footer Placeholder 4"/>
          <p:cNvSpPr>
            <a:spLocks noGrp="1"/>
          </p:cNvSpPr>
          <p:nvPr>
            <p:ph type="ftr" sz="quarter" idx="14"/>
          </p:nvPr>
        </p:nvSpPr>
        <p:spPr/>
        <p:txBody>
          <a:bodyPr/>
          <a:lstStyle/>
          <a:p>
            <a:r>
              <a:rPr lang="en-GB" smtClean="0"/>
              <a:t>© 2018 Deloitte LLP. Private and Confidential.</a:t>
            </a:r>
            <a:endParaRPr lang="en-GB" dirty="0"/>
          </a:p>
        </p:txBody>
      </p:sp>
      <p:graphicFrame>
        <p:nvGraphicFramePr>
          <p:cNvPr id="10" name="Chart 9"/>
          <p:cNvGraphicFramePr>
            <a:graphicFrameLocks/>
          </p:cNvGraphicFramePr>
          <p:nvPr>
            <p:extLst>
              <p:ext uri="{D42A27DB-BD31-4B8C-83A1-F6EECF244321}">
                <p14:modId xmlns:p14="http://schemas.microsoft.com/office/powerpoint/2010/main" val="4171091018"/>
              </p:ext>
            </p:extLst>
          </p:nvPr>
        </p:nvGraphicFramePr>
        <p:xfrm>
          <a:off x="217449" y="766852"/>
          <a:ext cx="8530550" cy="445966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2062386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inancial areas – points of improvement</a:t>
            </a:r>
            <a:endParaRPr lang="en-GB" dirty="0"/>
          </a:p>
        </p:txBody>
      </p:sp>
      <p:sp>
        <p:nvSpPr>
          <p:cNvPr id="4" name="Content Placeholder 3"/>
          <p:cNvSpPr>
            <a:spLocks noGrp="1"/>
          </p:cNvSpPr>
          <p:nvPr>
            <p:ph idx="1"/>
          </p:nvPr>
        </p:nvSpPr>
        <p:spPr>
          <a:xfrm>
            <a:off x="1135782" y="1016000"/>
            <a:ext cx="7612218" cy="5461000"/>
          </a:xfrm>
        </p:spPr>
        <p:txBody>
          <a:bodyPr/>
          <a:lstStyle/>
          <a:p>
            <a:pPr>
              <a:spcBef>
                <a:spcPts val="600"/>
              </a:spcBef>
              <a:buNone/>
            </a:pPr>
            <a:r>
              <a:rPr lang="en-GB" sz="1800" b="1" dirty="0" smtClean="0"/>
              <a:t>Accounts Receivable - </a:t>
            </a:r>
            <a:r>
              <a:rPr lang="en-GB" sz="1800" dirty="0" smtClean="0"/>
              <a:t>Deposits and prepayments and credit checks on customers</a:t>
            </a:r>
          </a:p>
          <a:p>
            <a:pPr>
              <a:spcBef>
                <a:spcPts val="600"/>
              </a:spcBef>
              <a:buNone/>
            </a:pPr>
            <a:r>
              <a:rPr lang="en-GB" sz="1800" b="1" dirty="0" smtClean="0"/>
              <a:t>General Ledger and Grant Journals - </a:t>
            </a:r>
            <a:r>
              <a:rPr lang="en-GB" sz="1800" dirty="0" smtClean="0"/>
              <a:t>Secondary review of journal entries by an independent officer and journals providing a sufficient description.</a:t>
            </a:r>
          </a:p>
          <a:p>
            <a:pPr>
              <a:spcBef>
                <a:spcPts val="600"/>
              </a:spcBef>
              <a:buNone/>
            </a:pPr>
            <a:r>
              <a:rPr lang="en-GB" sz="1800" b="1" dirty="0" smtClean="0"/>
              <a:t>Reward and Payroll - </a:t>
            </a:r>
            <a:r>
              <a:rPr lang="en-GB" sz="1800" dirty="0" smtClean="0"/>
              <a:t>Secondary review of payroll</a:t>
            </a:r>
          </a:p>
          <a:p>
            <a:pPr>
              <a:spcBef>
                <a:spcPts val="600"/>
              </a:spcBef>
              <a:buNone/>
            </a:pPr>
            <a:r>
              <a:rPr lang="en-GB" sz="1800" b="1" dirty="0" smtClean="0"/>
              <a:t>Procurement and Purchasing - </a:t>
            </a:r>
            <a:r>
              <a:rPr lang="en-GB" sz="1800" dirty="0" smtClean="0"/>
              <a:t>POs authorised before order placed, authorisation to raise POs for all relevant staff (including academic) and supplier list on Marketplace</a:t>
            </a:r>
          </a:p>
          <a:p>
            <a:pPr>
              <a:spcBef>
                <a:spcPts val="600"/>
              </a:spcBef>
              <a:buNone/>
            </a:pPr>
            <a:r>
              <a:rPr lang="en-GB" sz="1800" b="1" dirty="0" smtClean="0"/>
              <a:t>University issued Credit Cards - </a:t>
            </a:r>
            <a:r>
              <a:rPr lang="en-GB" sz="1800" dirty="0" smtClean="0"/>
              <a:t>Independent review of reconciliations and journal entries for expenditure</a:t>
            </a:r>
          </a:p>
          <a:p>
            <a:pPr>
              <a:spcBef>
                <a:spcPts val="600"/>
              </a:spcBef>
              <a:buNone/>
            </a:pPr>
            <a:r>
              <a:rPr lang="en-GB" sz="1800" b="1" dirty="0" smtClean="0"/>
              <a:t>Expenses and Advances - </a:t>
            </a:r>
            <a:r>
              <a:rPr lang="en-GB" sz="1800" dirty="0" smtClean="0"/>
              <a:t>Regular cost monitoring</a:t>
            </a:r>
          </a:p>
          <a:p>
            <a:pPr>
              <a:spcBef>
                <a:spcPts val="600"/>
              </a:spcBef>
              <a:buNone/>
            </a:pPr>
            <a:r>
              <a:rPr lang="en-GB" sz="1800" b="1" dirty="0"/>
              <a:t>Cash and cheque banking, and petty cash:</a:t>
            </a:r>
            <a:r>
              <a:rPr lang="en-GB" sz="1800" dirty="0"/>
              <a:t> </a:t>
            </a:r>
            <a:r>
              <a:rPr lang="en-GB" sz="1800" dirty="0" smtClean="0"/>
              <a:t>One individual responsible for banking, which requires all Departments to travel to the Old </a:t>
            </a:r>
            <a:r>
              <a:rPr lang="en-GB" sz="1800" dirty="0"/>
              <a:t>Schools. </a:t>
            </a:r>
            <a:endParaRPr lang="en-GB" sz="2800" dirty="0" smtClean="0"/>
          </a:p>
        </p:txBody>
      </p:sp>
      <p:sp>
        <p:nvSpPr>
          <p:cNvPr id="5" name="Footer Placeholder 4"/>
          <p:cNvSpPr>
            <a:spLocks noGrp="1"/>
          </p:cNvSpPr>
          <p:nvPr>
            <p:ph type="ftr" sz="quarter" idx="14"/>
          </p:nvPr>
        </p:nvSpPr>
        <p:spPr/>
        <p:txBody>
          <a:bodyPr/>
          <a:lstStyle/>
          <a:p>
            <a:r>
              <a:rPr lang="en-GB" dirty="0" smtClean="0"/>
              <a:t>© 2018 Deloitte LLP. Private and Confidential.</a:t>
            </a:r>
            <a:endParaRPr lang="en-GB" dirty="0"/>
          </a:p>
        </p:txBody>
      </p:sp>
      <p:sp>
        <p:nvSpPr>
          <p:cNvPr id="46" name="Freeform 141"/>
          <p:cNvSpPr>
            <a:spLocks noChangeAspect="1" noEditPoints="1"/>
          </p:cNvSpPr>
          <p:nvPr/>
        </p:nvSpPr>
        <p:spPr bwMode="auto">
          <a:xfrm>
            <a:off x="495519" y="1015999"/>
            <a:ext cx="432000" cy="432000"/>
          </a:xfrm>
          <a:custGeom>
            <a:avLst/>
            <a:gdLst>
              <a:gd name="T0" fmla="*/ 341 w 512"/>
              <a:gd name="T1" fmla="*/ 330 h 512"/>
              <a:gd name="T2" fmla="*/ 138 w 512"/>
              <a:gd name="T3" fmla="*/ 224 h 512"/>
              <a:gd name="T4" fmla="*/ 224 w 512"/>
              <a:gd name="T5" fmla="*/ 248 h 512"/>
              <a:gd name="T6" fmla="*/ 240 w 512"/>
              <a:gd name="T7" fmla="*/ 234 h 512"/>
              <a:gd name="T8" fmla="*/ 247 w 512"/>
              <a:gd name="T9" fmla="*/ 242 h 512"/>
              <a:gd name="T10" fmla="*/ 264 w 512"/>
              <a:gd name="T11" fmla="*/ 259 h 512"/>
              <a:gd name="T12" fmla="*/ 244 w 512"/>
              <a:gd name="T13" fmla="*/ 254 h 512"/>
              <a:gd name="T14" fmla="*/ 234 w 512"/>
              <a:gd name="T15" fmla="*/ 260 h 512"/>
              <a:gd name="T16" fmla="*/ 240 w 512"/>
              <a:gd name="T17" fmla="*/ 267 h 512"/>
              <a:gd name="T18" fmla="*/ 261 w 512"/>
              <a:gd name="T19" fmla="*/ 276 h 512"/>
              <a:gd name="T20" fmla="*/ 269 w 512"/>
              <a:gd name="T21" fmla="*/ 290 h 512"/>
              <a:gd name="T22" fmla="*/ 247 w 512"/>
              <a:gd name="T23" fmla="*/ 309 h 512"/>
              <a:gd name="T24" fmla="*/ 240 w 512"/>
              <a:gd name="T25" fmla="*/ 320 h 512"/>
              <a:gd name="T26" fmla="*/ 218 w 512"/>
              <a:gd name="T27" fmla="*/ 305 h 512"/>
              <a:gd name="T28" fmla="*/ 229 w 512"/>
              <a:gd name="T29" fmla="*/ 295 h 512"/>
              <a:gd name="T30" fmla="*/ 244 w 512"/>
              <a:gd name="T31" fmla="*/ 297 h 512"/>
              <a:gd name="T32" fmla="*/ 254 w 512"/>
              <a:gd name="T33" fmla="*/ 291 h 512"/>
              <a:gd name="T34" fmla="*/ 247 w 512"/>
              <a:gd name="T35" fmla="*/ 284 h 512"/>
              <a:gd name="T36" fmla="*/ 237 w 512"/>
              <a:gd name="T37" fmla="*/ 280 h 512"/>
              <a:gd name="T38" fmla="*/ 218 w 512"/>
              <a:gd name="T39" fmla="*/ 260 h 512"/>
              <a:gd name="T40" fmla="*/ 181 w 512"/>
              <a:gd name="T41" fmla="*/ 181 h 512"/>
              <a:gd name="T42" fmla="*/ 384 w 512"/>
              <a:gd name="T43" fmla="*/ 288 h 512"/>
              <a:gd name="T44" fmla="*/ 362 w 512"/>
              <a:gd name="T45" fmla="*/ 213 h 512"/>
              <a:gd name="T46" fmla="*/ 181 w 512"/>
              <a:gd name="T47" fmla="*/ 202 h 512"/>
              <a:gd name="T48" fmla="*/ 256 w 512"/>
              <a:gd name="T49" fmla="*/ 0 h 512"/>
              <a:gd name="T50" fmla="*/ 256 w 512"/>
              <a:gd name="T51" fmla="*/ 512 h 512"/>
              <a:gd name="T52" fmla="*/ 256 w 512"/>
              <a:gd name="T53" fmla="*/ 0 h 512"/>
              <a:gd name="T54" fmla="*/ 394 w 512"/>
              <a:gd name="T55" fmla="*/ 309 h 512"/>
              <a:gd name="T56" fmla="*/ 362 w 512"/>
              <a:gd name="T57" fmla="*/ 341 h 512"/>
              <a:gd name="T58" fmla="*/ 128 w 512"/>
              <a:gd name="T59" fmla="*/ 352 h 512"/>
              <a:gd name="T60" fmla="*/ 117 w 512"/>
              <a:gd name="T61" fmla="*/ 213 h 512"/>
              <a:gd name="T62" fmla="*/ 160 w 512"/>
              <a:gd name="T63" fmla="*/ 202 h 512"/>
              <a:gd name="T64" fmla="*/ 170 w 512"/>
              <a:gd name="T65" fmla="*/ 160 h 512"/>
              <a:gd name="T66" fmla="*/ 405 w 512"/>
              <a:gd name="T67"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138" y="330"/>
                </a:moveTo>
                <a:cubicBezTo>
                  <a:pt x="341" y="330"/>
                  <a:pt x="341" y="330"/>
                  <a:pt x="341" y="330"/>
                </a:cubicBezTo>
                <a:cubicBezTo>
                  <a:pt x="341" y="224"/>
                  <a:pt x="341" y="224"/>
                  <a:pt x="341" y="224"/>
                </a:cubicBezTo>
                <a:cubicBezTo>
                  <a:pt x="138" y="224"/>
                  <a:pt x="138" y="224"/>
                  <a:pt x="138" y="224"/>
                </a:cubicBezTo>
                <a:lnTo>
                  <a:pt x="138" y="330"/>
                </a:lnTo>
                <a:close/>
                <a:moveTo>
                  <a:pt x="224" y="248"/>
                </a:moveTo>
                <a:cubicBezTo>
                  <a:pt x="228" y="245"/>
                  <a:pt x="233" y="243"/>
                  <a:pt x="240" y="242"/>
                </a:cubicBezTo>
                <a:cubicBezTo>
                  <a:pt x="240" y="234"/>
                  <a:pt x="240" y="234"/>
                  <a:pt x="240" y="234"/>
                </a:cubicBezTo>
                <a:cubicBezTo>
                  <a:pt x="247" y="234"/>
                  <a:pt x="247" y="234"/>
                  <a:pt x="247" y="234"/>
                </a:cubicBezTo>
                <a:cubicBezTo>
                  <a:pt x="247" y="242"/>
                  <a:pt x="247" y="242"/>
                  <a:pt x="247" y="242"/>
                </a:cubicBezTo>
                <a:cubicBezTo>
                  <a:pt x="255" y="242"/>
                  <a:pt x="262" y="244"/>
                  <a:pt x="268" y="247"/>
                </a:cubicBezTo>
                <a:cubicBezTo>
                  <a:pt x="264" y="259"/>
                  <a:pt x="264" y="259"/>
                  <a:pt x="264" y="259"/>
                </a:cubicBezTo>
                <a:cubicBezTo>
                  <a:pt x="258" y="256"/>
                  <a:pt x="253" y="255"/>
                  <a:pt x="247" y="255"/>
                </a:cubicBezTo>
                <a:cubicBezTo>
                  <a:pt x="247" y="255"/>
                  <a:pt x="246" y="254"/>
                  <a:pt x="244" y="254"/>
                </a:cubicBezTo>
                <a:cubicBezTo>
                  <a:pt x="242" y="254"/>
                  <a:pt x="240" y="255"/>
                  <a:pt x="240" y="255"/>
                </a:cubicBezTo>
                <a:cubicBezTo>
                  <a:pt x="236" y="255"/>
                  <a:pt x="234" y="257"/>
                  <a:pt x="234" y="260"/>
                </a:cubicBezTo>
                <a:cubicBezTo>
                  <a:pt x="234" y="262"/>
                  <a:pt x="234" y="263"/>
                  <a:pt x="235" y="264"/>
                </a:cubicBezTo>
                <a:cubicBezTo>
                  <a:pt x="236" y="265"/>
                  <a:pt x="238" y="266"/>
                  <a:pt x="240" y="267"/>
                </a:cubicBezTo>
                <a:cubicBezTo>
                  <a:pt x="247" y="270"/>
                  <a:pt x="247" y="270"/>
                  <a:pt x="247" y="270"/>
                </a:cubicBezTo>
                <a:cubicBezTo>
                  <a:pt x="254" y="272"/>
                  <a:pt x="259" y="274"/>
                  <a:pt x="261" y="276"/>
                </a:cubicBezTo>
                <a:cubicBezTo>
                  <a:pt x="264" y="278"/>
                  <a:pt x="266" y="280"/>
                  <a:pt x="268" y="282"/>
                </a:cubicBezTo>
                <a:cubicBezTo>
                  <a:pt x="269" y="285"/>
                  <a:pt x="269" y="287"/>
                  <a:pt x="269" y="290"/>
                </a:cubicBezTo>
                <a:cubicBezTo>
                  <a:pt x="269" y="296"/>
                  <a:pt x="268" y="300"/>
                  <a:pt x="264" y="303"/>
                </a:cubicBezTo>
                <a:cubicBezTo>
                  <a:pt x="260" y="307"/>
                  <a:pt x="254" y="309"/>
                  <a:pt x="247" y="309"/>
                </a:cubicBezTo>
                <a:cubicBezTo>
                  <a:pt x="247" y="320"/>
                  <a:pt x="247" y="320"/>
                  <a:pt x="247" y="320"/>
                </a:cubicBezTo>
                <a:cubicBezTo>
                  <a:pt x="240" y="320"/>
                  <a:pt x="240" y="320"/>
                  <a:pt x="240" y="320"/>
                </a:cubicBezTo>
                <a:cubicBezTo>
                  <a:pt x="240" y="309"/>
                  <a:pt x="240" y="309"/>
                  <a:pt x="240" y="309"/>
                </a:cubicBezTo>
                <a:cubicBezTo>
                  <a:pt x="232" y="309"/>
                  <a:pt x="225" y="308"/>
                  <a:pt x="218" y="305"/>
                </a:cubicBezTo>
                <a:cubicBezTo>
                  <a:pt x="218" y="292"/>
                  <a:pt x="218" y="292"/>
                  <a:pt x="218" y="292"/>
                </a:cubicBezTo>
                <a:cubicBezTo>
                  <a:pt x="221" y="293"/>
                  <a:pt x="225" y="294"/>
                  <a:pt x="229" y="295"/>
                </a:cubicBezTo>
                <a:cubicBezTo>
                  <a:pt x="233" y="297"/>
                  <a:pt x="237" y="297"/>
                  <a:pt x="240" y="297"/>
                </a:cubicBezTo>
                <a:cubicBezTo>
                  <a:pt x="240" y="297"/>
                  <a:pt x="242" y="297"/>
                  <a:pt x="244" y="297"/>
                </a:cubicBezTo>
                <a:cubicBezTo>
                  <a:pt x="246" y="297"/>
                  <a:pt x="247" y="297"/>
                  <a:pt x="247" y="297"/>
                </a:cubicBezTo>
                <a:cubicBezTo>
                  <a:pt x="252" y="296"/>
                  <a:pt x="254" y="294"/>
                  <a:pt x="254" y="291"/>
                </a:cubicBezTo>
                <a:cubicBezTo>
                  <a:pt x="254" y="290"/>
                  <a:pt x="254" y="288"/>
                  <a:pt x="252" y="287"/>
                </a:cubicBezTo>
                <a:cubicBezTo>
                  <a:pt x="251" y="286"/>
                  <a:pt x="250" y="285"/>
                  <a:pt x="247" y="284"/>
                </a:cubicBezTo>
                <a:cubicBezTo>
                  <a:pt x="240" y="282"/>
                  <a:pt x="240" y="282"/>
                  <a:pt x="240" y="282"/>
                </a:cubicBezTo>
                <a:cubicBezTo>
                  <a:pt x="237" y="280"/>
                  <a:pt x="237" y="280"/>
                  <a:pt x="237" y="280"/>
                </a:cubicBezTo>
                <a:cubicBezTo>
                  <a:pt x="230" y="278"/>
                  <a:pt x="225" y="275"/>
                  <a:pt x="222" y="272"/>
                </a:cubicBezTo>
                <a:cubicBezTo>
                  <a:pt x="220" y="269"/>
                  <a:pt x="218" y="265"/>
                  <a:pt x="218" y="260"/>
                </a:cubicBezTo>
                <a:cubicBezTo>
                  <a:pt x="218" y="255"/>
                  <a:pt x="220" y="251"/>
                  <a:pt x="224" y="248"/>
                </a:cubicBezTo>
                <a:close/>
                <a:moveTo>
                  <a:pt x="181" y="181"/>
                </a:moveTo>
                <a:cubicBezTo>
                  <a:pt x="384" y="181"/>
                  <a:pt x="384" y="181"/>
                  <a:pt x="384" y="181"/>
                </a:cubicBezTo>
                <a:cubicBezTo>
                  <a:pt x="384" y="288"/>
                  <a:pt x="384" y="288"/>
                  <a:pt x="384" y="288"/>
                </a:cubicBezTo>
                <a:cubicBezTo>
                  <a:pt x="362" y="288"/>
                  <a:pt x="362" y="288"/>
                  <a:pt x="362" y="288"/>
                </a:cubicBezTo>
                <a:cubicBezTo>
                  <a:pt x="362" y="213"/>
                  <a:pt x="362" y="213"/>
                  <a:pt x="362" y="213"/>
                </a:cubicBezTo>
                <a:cubicBezTo>
                  <a:pt x="362" y="207"/>
                  <a:pt x="358" y="202"/>
                  <a:pt x="352" y="202"/>
                </a:cubicBezTo>
                <a:cubicBezTo>
                  <a:pt x="181" y="202"/>
                  <a:pt x="181" y="202"/>
                  <a:pt x="181" y="202"/>
                </a:cubicBezTo>
                <a:lnTo>
                  <a:pt x="181" y="181"/>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98"/>
                </a:moveTo>
                <a:cubicBezTo>
                  <a:pt x="405" y="304"/>
                  <a:pt x="400" y="309"/>
                  <a:pt x="394" y="309"/>
                </a:cubicBezTo>
                <a:cubicBezTo>
                  <a:pt x="362" y="309"/>
                  <a:pt x="362" y="309"/>
                  <a:pt x="362" y="309"/>
                </a:cubicBezTo>
                <a:cubicBezTo>
                  <a:pt x="362" y="341"/>
                  <a:pt x="362" y="341"/>
                  <a:pt x="362" y="341"/>
                </a:cubicBezTo>
                <a:cubicBezTo>
                  <a:pt x="362" y="347"/>
                  <a:pt x="358" y="352"/>
                  <a:pt x="352" y="352"/>
                </a:cubicBezTo>
                <a:cubicBezTo>
                  <a:pt x="128" y="352"/>
                  <a:pt x="128" y="352"/>
                  <a:pt x="128" y="352"/>
                </a:cubicBezTo>
                <a:cubicBezTo>
                  <a:pt x="122" y="352"/>
                  <a:pt x="117" y="347"/>
                  <a:pt x="117" y="341"/>
                </a:cubicBezTo>
                <a:cubicBezTo>
                  <a:pt x="117" y="213"/>
                  <a:pt x="117" y="213"/>
                  <a:pt x="117" y="213"/>
                </a:cubicBezTo>
                <a:cubicBezTo>
                  <a:pt x="117" y="207"/>
                  <a:pt x="122" y="202"/>
                  <a:pt x="128" y="202"/>
                </a:cubicBezTo>
                <a:cubicBezTo>
                  <a:pt x="160" y="202"/>
                  <a:pt x="160" y="202"/>
                  <a:pt x="160" y="202"/>
                </a:cubicBezTo>
                <a:cubicBezTo>
                  <a:pt x="160" y="170"/>
                  <a:pt x="160" y="170"/>
                  <a:pt x="160" y="170"/>
                </a:cubicBezTo>
                <a:cubicBezTo>
                  <a:pt x="160" y="164"/>
                  <a:pt x="164" y="160"/>
                  <a:pt x="170" y="160"/>
                </a:cubicBezTo>
                <a:cubicBezTo>
                  <a:pt x="394" y="160"/>
                  <a:pt x="394" y="160"/>
                  <a:pt x="394" y="160"/>
                </a:cubicBezTo>
                <a:cubicBezTo>
                  <a:pt x="400" y="160"/>
                  <a:pt x="405" y="164"/>
                  <a:pt x="405" y="170"/>
                </a:cubicBezTo>
                <a:lnTo>
                  <a:pt x="405" y="298"/>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48" name="Freeform 910"/>
          <p:cNvSpPr>
            <a:spLocks noChangeAspect="1" noEditPoints="1"/>
          </p:cNvSpPr>
          <p:nvPr/>
        </p:nvSpPr>
        <p:spPr bwMode="auto">
          <a:xfrm>
            <a:off x="495519" y="2728916"/>
            <a:ext cx="432000" cy="432000"/>
          </a:xfrm>
          <a:custGeom>
            <a:avLst/>
            <a:gdLst>
              <a:gd name="T0" fmla="*/ 207 w 512"/>
              <a:gd name="T1" fmla="*/ 107 h 512"/>
              <a:gd name="T2" fmla="*/ 260 w 512"/>
              <a:gd name="T3" fmla="*/ 116 h 512"/>
              <a:gd name="T4" fmla="*/ 305 w 512"/>
              <a:gd name="T5" fmla="*/ 106 h 512"/>
              <a:gd name="T6" fmla="*/ 237 w 512"/>
              <a:gd name="T7" fmla="*/ 138 h 512"/>
              <a:gd name="T8" fmla="*/ 346 w 512"/>
              <a:gd name="T9" fmla="*/ 373 h 512"/>
              <a:gd name="T10" fmla="*/ 181 w 512"/>
              <a:gd name="T11" fmla="*/ 320 h 512"/>
              <a:gd name="T12" fmla="*/ 236 w 512"/>
              <a:gd name="T13" fmla="*/ 160 h 512"/>
              <a:gd name="T14" fmla="*/ 331 w 512"/>
              <a:gd name="T15" fmla="*/ 315 h 512"/>
              <a:gd name="T16" fmla="*/ 294 w 512"/>
              <a:gd name="T17" fmla="*/ 297 h 512"/>
              <a:gd name="T18" fmla="*/ 282 w 512"/>
              <a:gd name="T19" fmla="*/ 276 h 512"/>
              <a:gd name="T20" fmla="*/ 250 w 512"/>
              <a:gd name="T21" fmla="*/ 262 h 512"/>
              <a:gd name="T22" fmla="*/ 240 w 512"/>
              <a:gd name="T23" fmla="*/ 252 h 512"/>
              <a:gd name="T24" fmla="*/ 256 w 512"/>
              <a:gd name="T25" fmla="*/ 243 h 512"/>
              <a:gd name="T26" fmla="*/ 285 w 512"/>
              <a:gd name="T27" fmla="*/ 249 h 512"/>
              <a:gd name="T28" fmla="*/ 261 w 512"/>
              <a:gd name="T29" fmla="*/ 224 h 512"/>
              <a:gd name="T30" fmla="*/ 250 w 512"/>
              <a:gd name="T31" fmla="*/ 213 h 512"/>
              <a:gd name="T32" fmla="*/ 226 w 512"/>
              <a:gd name="T33" fmla="*/ 233 h 512"/>
              <a:gd name="T34" fmla="*/ 223 w 512"/>
              <a:gd name="T35" fmla="*/ 269 h 512"/>
              <a:gd name="T36" fmla="*/ 250 w 512"/>
              <a:gd name="T37" fmla="*/ 284 h 512"/>
              <a:gd name="T38" fmla="*/ 268 w 512"/>
              <a:gd name="T39" fmla="*/ 293 h 512"/>
              <a:gd name="T40" fmla="*/ 261 w 512"/>
              <a:gd name="T41" fmla="*/ 307 h 512"/>
              <a:gd name="T42" fmla="*/ 250 w 512"/>
              <a:gd name="T43" fmla="*/ 308 h 512"/>
              <a:gd name="T44" fmla="*/ 217 w 512"/>
              <a:gd name="T45" fmla="*/ 299 h 512"/>
              <a:gd name="T46" fmla="*/ 250 w 512"/>
              <a:gd name="T47" fmla="*/ 326 h 512"/>
              <a:gd name="T48" fmla="*/ 261 w 512"/>
              <a:gd name="T49" fmla="*/ 341 h 512"/>
              <a:gd name="T50" fmla="*/ 285 w 512"/>
              <a:gd name="T51" fmla="*/ 316 h 512"/>
              <a:gd name="T52" fmla="*/ 512 w 512"/>
              <a:gd name="T53" fmla="*/ 256 h 512"/>
              <a:gd name="T54" fmla="*/ 0 w 512"/>
              <a:gd name="T55" fmla="*/ 256 h 512"/>
              <a:gd name="T56" fmla="*/ 512 w 512"/>
              <a:gd name="T57" fmla="*/ 256 h 512"/>
              <a:gd name="T58" fmla="*/ 352 w 512"/>
              <a:gd name="T59" fmla="*/ 322 h 512"/>
              <a:gd name="T60" fmla="*/ 327 w 512"/>
              <a:gd name="T61" fmla="*/ 114 h 512"/>
              <a:gd name="T62" fmla="*/ 316 w 512"/>
              <a:gd name="T63" fmla="*/ 88 h 512"/>
              <a:gd name="T64" fmla="*/ 195 w 512"/>
              <a:gd name="T65" fmla="*/ 88 h 512"/>
              <a:gd name="T66" fmla="*/ 184 w 512"/>
              <a:gd name="T67" fmla="*/ 114 h 512"/>
              <a:gd name="T68" fmla="*/ 160 w 512"/>
              <a:gd name="T69" fmla="*/ 322 h 512"/>
              <a:gd name="T70" fmla="*/ 140 w 512"/>
              <a:gd name="T71" fmla="*/ 389 h 512"/>
              <a:gd name="T72" fmla="*/ 362 w 512"/>
              <a:gd name="T73" fmla="*/ 394 h 512"/>
              <a:gd name="T74" fmla="*/ 372 w 512"/>
              <a:gd name="T75"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37" y="138"/>
                </a:moveTo>
                <a:cubicBezTo>
                  <a:pt x="207" y="107"/>
                  <a:pt x="207" y="107"/>
                  <a:pt x="207" y="107"/>
                </a:cubicBezTo>
                <a:cubicBezTo>
                  <a:pt x="212" y="105"/>
                  <a:pt x="225" y="104"/>
                  <a:pt x="251" y="116"/>
                </a:cubicBezTo>
                <a:cubicBezTo>
                  <a:pt x="254" y="117"/>
                  <a:pt x="257" y="117"/>
                  <a:pt x="260" y="116"/>
                </a:cubicBezTo>
                <a:cubicBezTo>
                  <a:pt x="260" y="116"/>
                  <a:pt x="260" y="116"/>
                  <a:pt x="260" y="116"/>
                </a:cubicBezTo>
                <a:cubicBezTo>
                  <a:pt x="285" y="105"/>
                  <a:pt x="299" y="105"/>
                  <a:pt x="305" y="106"/>
                </a:cubicBezTo>
                <a:cubicBezTo>
                  <a:pt x="275" y="138"/>
                  <a:pt x="275" y="138"/>
                  <a:pt x="275" y="138"/>
                </a:cubicBezTo>
                <a:lnTo>
                  <a:pt x="237" y="138"/>
                </a:lnTo>
                <a:close/>
                <a:moveTo>
                  <a:pt x="330" y="320"/>
                </a:moveTo>
                <a:cubicBezTo>
                  <a:pt x="330" y="334"/>
                  <a:pt x="339" y="357"/>
                  <a:pt x="346" y="373"/>
                </a:cubicBezTo>
                <a:cubicBezTo>
                  <a:pt x="165" y="373"/>
                  <a:pt x="165" y="373"/>
                  <a:pt x="165" y="373"/>
                </a:cubicBezTo>
                <a:cubicBezTo>
                  <a:pt x="172" y="357"/>
                  <a:pt x="181" y="334"/>
                  <a:pt x="181" y="320"/>
                </a:cubicBezTo>
                <a:cubicBezTo>
                  <a:pt x="181" y="318"/>
                  <a:pt x="181" y="316"/>
                  <a:pt x="180" y="315"/>
                </a:cubicBezTo>
                <a:cubicBezTo>
                  <a:pt x="178" y="312"/>
                  <a:pt x="143" y="237"/>
                  <a:pt x="236" y="160"/>
                </a:cubicBezTo>
                <a:cubicBezTo>
                  <a:pt x="275" y="160"/>
                  <a:pt x="275" y="160"/>
                  <a:pt x="275" y="160"/>
                </a:cubicBezTo>
                <a:cubicBezTo>
                  <a:pt x="368" y="237"/>
                  <a:pt x="333" y="312"/>
                  <a:pt x="331" y="315"/>
                </a:cubicBezTo>
                <a:cubicBezTo>
                  <a:pt x="331" y="316"/>
                  <a:pt x="330" y="318"/>
                  <a:pt x="330" y="320"/>
                </a:cubicBezTo>
                <a:close/>
                <a:moveTo>
                  <a:pt x="294" y="297"/>
                </a:moveTo>
                <a:cubicBezTo>
                  <a:pt x="294" y="292"/>
                  <a:pt x="293" y="289"/>
                  <a:pt x="291" y="285"/>
                </a:cubicBezTo>
                <a:cubicBezTo>
                  <a:pt x="289" y="282"/>
                  <a:pt x="286" y="279"/>
                  <a:pt x="282" y="276"/>
                </a:cubicBezTo>
                <a:cubicBezTo>
                  <a:pt x="278" y="273"/>
                  <a:pt x="271" y="270"/>
                  <a:pt x="261" y="266"/>
                </a:cubicBezTo>
                <a:cubicBezTo>
                  <a:pt x="250" y="262"/>
                  <a:pt x="250" y="262"/>
                  <a:pt x="250" y="262"/>
                </a:cubicBezTo>
                <a:cubicBezTo>
                  <a:pt x="247" y="260"/>
                  <a:pt x="244" y="259"/>
                  <a:pt x="243" y="257"/>
                </a:cubicBezTo>
                <a:cubicBezTo>
                  <a:pt x="241" y="256"/>
                  <a:pt x="240" y="254"/>
                  <a:pt x="240" y="252"/>
                </a:cubicBezTo>
                <a:cubicBezTo>
                  <a:pt x="240" y="247"/>
                  <a:pt x="244" y="245"/>
                  <a:pt x="250" y="244"/>
                </a:cubicBezTo>
                <a:cubicBezTo>
                  <a:pt x="250" y="244"/>
                  <a:pt x="253" y="243"/>
                  <a:pt x="256" y="243"/>
                </a:cubicBezTo>
                <a:cubicBezTo>
                  <a:pt x="259" y="243"/>
                  <a:pt x="261" y="243"/>
                  <a:pt x="261" y="243"/>
                </a:cubicBezTo>
                <a:cubicBezTo>
                  <a:pt x="269" y="244"/>
                  <a:pt x="277" y="246"/>
                  <a:pt x="285" y="249"/>
                </a:cubicBezTo>
                <a:cubicBezTo>
                  <a:pt x="292" y="231"/>
                  <a:pt x="292" y="231"/>
                  <a:pt x="292" y="231"/>
                </a:cubicBezTo>
                <a:cubicBezTo>
                  <a:pt x="283" y="227"/>
                  <a:pt x="272" y="225"/>
                  <a:pt x="261" y="224"/>
                </a:cubicBezTo>
                <a:cubicBezTo>
                  <a:pt x="261" y="213"/>
                  <a:pt x="261" y="213"/>
                  <a:pt x="261" y="213"/>
                </a:cubicBezTo>
                <a:cubicBezTo>
                  <a:pt x="250" y="213"/>
                  <a:pt x="250" y="213"/>
                  <a:pt x="250" y="213"/>
                </a:cubicBezTo>
                <a:cubicBezTo>
                  <a:pt x="250" y="225"/>
                  <a:pt x="250" y="225"/>
                  <a:pt x="250" y="225"/>
                </a:cubicBezTo>
                <a:cubicBezTo>
                  <a:pt x="240" y="226"/>
                  <a:pt x="232" y="229"/>
                  <a:pt x="226" y="233"/>
                </a:cubicBezTo>
                <a:cubicBezTo>
                  <a:pt x="220" y="238"/>
                  <a:pt x="217" y="244"/>
                  <a:pt x="217" y="252"/>
                </a:cubicBezTo>
                <a:cubicBezTo>
                  <a:pt x="217" y="259"/>
                  <a:pt x="219" y="264"/>
                  <a:pt x="223" y="269"/>
                </a:cubicBezTo>
                <a:cubicBezTo>
                  <a:pt x="228" y="274"/>
                  <a:pt x="235" y="278"/>
                  <a:pt x="245" y="282"/>
                </a:cubicBezTo>
                <a:cubicBezTo>
                  <a:pt x="250" y="284"/>
                  <a:pt x="250" y="284"/>
                  <a:pt x="250" y="284"/>
                </a:cubicBezTo>
                <a:cubicBezTo>
                  <a:pt x="261" y="288"/>
                  <a:pt x="261" y="288"/>
                  <a:pt x="261" y="288"/>
                </a:cubicBezTo>
                <a:cubicBezTo>
                  <a:pt x="264" y="290"/>
                  <a:pt x="267" y="291"/>
                  <a:pt x="268" y="293"/>
                </a:cubicBezTo>
                <a:cubicBezTo>
                  <a:pt x="270" y="294"/>
                  <a:pt x="271" y="296"/>
                  <a:pt x="271" y="298"/>
                </a:cubicBezTo>
                <a:cubicBezTo>
                  <a:pt x="271" y="303"/>
                  <a:pt x="268" y="306"/>
                  <a:pt x="261" y="307"/>
                </a:cubicBezTo>
                <a:cubicBezTo>
                  <a:pt x="261" y="307"/>
                  <a:pt x="258" y="308"/>
                  <a:pt x="256" y="308"/>
                </a:cubicBezTo>
                <a:cubicBezTo>
                  <a:pt x="253" y="308"/>
                  <a:pt x="250" y="308"/>
                  <a:pt x="250" y="308"/>
                </a:cubicBezTo>
                <a:cubicBezTo>
                  <a:pt x="245" y="307"/>
                  <a:pt x="240" y="306"/>
                  <a:pt x="233" y="305"/>
                </a:cubicBezTo>
                <a:cubicBezTo>
                  <a:pt x="227" y="303"/>
                  <a:pt x="222" y="301"/>
                  <a:pt x="217" y="299"/>
                </a:cubicBezTo>
                <a:cubicBezTo>
                  <a:pt x="217" y="319"/>
                  <a:pt x="217" y="319"/>
                  <a:pt x="217" y="319"/>
                </a:cubicBezTo>
                <a:cubicBezTo>
                  <a:pt x="227" y="323"/>
                  <a:pt x="238" y="325"/>
                  <a:pt x="250" y="326"/>
                </a:cubicBezTo>
                <a:cubicBezTo>
                  <a:pt x="250" y="341"/>
                  <a:pt x="250" y="341"/>
                  <a:pt x="250" y="341"/>
                </a:cubicBezTo>
                <a:cubicBezTo>
                  <a:pt x="261" y="341"/>
                  <a:pt x="261" y="341"/>
                  <a:pt x="261" y="341"/>
                </a:cubicBezTo>
                <a:cubicBezTo>
                  <a:pt x="261" y="325"/>
                  <a:pt x="261" y="325"/>
                  <a:pt x="261" y="325"/>
                </a:cubicBezTo>
                <a:cubicBezTo>
                  <a:pt x="271" y="324"/>
                  <a:pt x="279" y="321"/>
                  <a:pt x="285" y="316"/>
                </a:cubicBezTo>
                <a:cubicBezTo>
                  <a:pt x="291" y="312"/>
                  <a:pt x="294" y="305"/>
                  <a:pt x="294" y="29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2" y="379"/>
                </a:moveTo>
                <a:cubicBezTo>
                  <a:pt x="365" y="363"/>
                  <a:pt x="353" y="335"/>
                  <a:pt x="352" y="322"/>
                </a:cubicBezTo>
                <a:cubicBezTo>
                  <a:pt x="358" y="306"/>
                  <a:pt x="384" y="227"/>
                  <a:pt x="295" y="148"/>
                </a:cubicBezTo>
                <a:cubicBezTo>
                  <a:pt x="327" y="114"/>
                  <a:pt x="327" y="114"/>
                  <a:pt x="327" y="114"/>
                </a:cubicBezTo>
                <a:cubicBezTo>
                  <a:pt x="330" y="111"/>
                  <a:pt x="331" y="107"/>
                  <a:pt x="330" y="104"/>
                </a:cubicBezTo>
                <a:cubicBezTo>
                  <a:pt x="330" y="102"/>
                  <a:pt x="327" y="93"/>
                  <a:pt x="316" y="88"/>
                </a:cubicBezTo>
                <a:cubicBezTo>
                  <a:pt x="302" y="82"/>
                  <a:pt x="282" y="84"/>
                  <a:pt x="256" y="95"/>
                </a:cubicBezTo>
                <a:cubicBezTo>
                  <a:pt x="229" y="84"/>
                  <a:pt x="209" y="82"/>
                  <a:pt x="195" y="88"/>
                </a:cubicBezTo>
                <a:cubicBezTo>
                  <a:pt x="185" y="93"/>
                  <a:pt x="182" y="102"/>
                  <a:pt x="181" y="104"/>
                </a:cubicBezTo>
                <a:cubicBezTo>
                  <a:pt x="180" y="107"/>
                  <a:pt x="181" y="111"/>
                  <a:pt x="184" y="114"/>
                </a:cubicBezTo>
                <a:cubicBezTo>
                  <a:pt x="217" y="148"/>
                  <a:pt x="217" y="148"/>
                  <a:pt x="217" y="148"/>
                </a:cubicBezTo>
                <a:cubicBezTo>
                  <a:pt x="128" y="227"/>
                  <a:pt x="153" y="306"/>
                  <a:pt x="160" y="322"/>
                </a:cubicBezTo>
                <a:cubicBezTo>
                  <a:pt x="158" y="335"/>
                  <a:pt x="147" y="363"/>
                  <a:pt x="139" y="379"/>
                </a:cubicBezTo>
                <a:cubicBezTo>
                  <a:pt x="138" y="382"/>
                  <a:pt x="138" y="386"/>
                  <a:pt x="140" y="389"/>
                </a:cubicBezTo>
                <a:cubicBezTo>
                  <a:pt x="142" y="392"/>
                  <a:pt x="145" y="394"/>
                  <a:pt x="149" y="394"/>
                </a:cubicBezTo>
                <a:cubicBezTo>
                  <a:pt x="362" y="394"/>
                  <a:pt x="362" y="394"/>
                  <a:pt x="362" y="394"/>
                </a:cubicBezTo>
                <a:cubicBezTo>
                  <a:pt x="366" y="394"/>
                  <a:pt x="369" y="392"/>
                  <a:pt x="371" y="389"/>
                </a:cubicBezTo>
                <a:cubicBezTo>
                  <a:pt x="373" y="386"/>
                  <a:pt x="374" y="382"/>
                  <a:pt x="372" y="379"/>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0" name="Freeform 114"/>
          <p:cNvSpPr>
            <a:spLocks noChangeAspect="1" noEditPoints="1"/>
          </p:cNvSpPr>
          <p:nvPr/>
        </p:nvSpPr>
        <p:spPr bwMode="auto">
          <a:xfrm>
            <a:off x="506917" y="4309053"/>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62 h 512"/>
              <a:gd name="T12" fmla="*/ 405 w 512"/>
              <a:gd name="T13" fmla="*/ 373 h 512"/>
              <a:gd name="T14" fmla="*/ 106 w 512"/>
              <a:gd name="T15" fmla="*/ 373 h 512"/>
              <a:gd name="T16" fmla="*/ 96 w 512"/>
              <a:gd name="T17" fmla="*/ 362 h 512"/>
              <a:gd name="T18" fmla="*/ 96 w 512"/>
              <a:gd name="T19" fmla="*/ 149 h 512"/>
              <a:gd name="T20" fmla="*/ 106 w 512"/>
              <a:gd name="T21" fmla="*/ 138 h 512"/>
              <a:gd name="T22" fmla="*/ 405 w 512"/>
              <a:gd name="T23" fmla="*/ 138 h 512"/>
              <a:gd name="T24" fmla="*/ 416 w 512"/>
              <a:gd name="T25" fmla="*/ 149 h 512"/>
              <a:gd name="T26" fmla="*/ 416 w 512"/>
              <a:gd name="T27" fmla="*/ 362 h 512"/>
              <a:gd name="T28" fmla="*/ 117 w 512"/>
              <a:gd name="T29" fmla="*/ 160 h 512"/>
              <a:gd name="T30" fmla="*/ 394 w 512"/>
              <a:gd name="T31" fmla="*/ 160 h 512"/>
              <a:gd name="T32" fmla="*/ 394 w 512"/>
              <a:gd name="T33" fmla="*/ 181 h 512"/>
              <a:gd name="T34" fmla="*/ 117 w 512"/>
              <a:gd name="T35" fmla="*/ 181 h 512"/>
              <a:gd name="T36" fmla="*/ 117 w 512"/>
              <a:gd name="T37" fmla="*/ 160 h 512"/>
              <a:gd name="T38" fmla="*/ 117 w 512"/>
              <a:gd name="T39" fmla="*/ 352 h 512"/>
              <a:gd name="T40" fmla="*/ 394 w 512"/>
              <a:gd name="T41" fmla="*/ 352 h 512"/>
              <a:gd name="T42" fmla="*/ 394 w 512"/>
              <a:gd name="T43" fmla="*/ 224 h 512"/>
              <a:gd name="T44" fmla="*/ 117 w 512"/>
              <a:gd name="T45" fmla="*/ 224 h 512"/>
              <a:gd name="T46" fmla="*/ 117 w 512"/>
              <a:gd name="T47" fmla="*/ 352 h 512"/>
              <a:gd name="T48" fmla="*/ 149 w 512"/>
              <a:gd name="T49" fmla="*/ 309 h 512"/>
              <a:gd name="T50" fmla="*/ 256 w 512"/>
              <a:gd name="T51" fmla="*/ 309 h 512"/>
              <a:gd name="T52" fmla="*/ 266 w 512"/>
              <a:gd name="T53" fmla="*/ 320 h 512"/>
              <a:gd name="T54" fmla="*/ 256 w 512"/>
              <a:gd name="T55" fmla="*/ 330 h 512"/>
              <a:gd name="T56" fmla="*/ 149 w 512"/>
              <a:gd name="T57" fmla="*/ 330 h 512"/>
              <a:gd name="T58" fmla="*/ 138 w 512"/>
              <a:gd name="T59" fmla="*/ 320 h 512"/>
              <a:gd name="T60" fmla="*/ 149 w 512"/>
              <a:gd name="T61"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62"/>
                </a:moveTo>
                <a:cubicBezTo>
                  <a:pt x="416" y="368"/>
                  <a:pt x="411" y="373"/>
                  <a:pt x="405" y="373"/>
                </a:cubicBezTo>
                <a:cubicBezTo>
                  <a:pt x="106" y="373"/>
                  <a:pt x="106" y="373"/>
                  <a:pt x="106" y="373"/>
                </a:cubicBezTo>
                <a:cubicBezTo>
                  <a:pt x="100" y="373"/>
                  <a:pt x="96" y="368"/>
                  <a:pt x="96" y="362"/>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62"/>
                </a:lnTo>
                <a:close/>
                <a:moveTo>
                  <a:pt x="117" y="160"/>
                </a:moveTo>
                <a:cubicBezTo>
                  <a:pt x="394" y="160"/>
                  <a:pt x="394" y="160"/>
                  <a:pt x="394" y="160"/>
                </a:cubicBezTo>
                <a:cubicBezTo>
                  <a:pt x="394" y="181"/>
                  <a:pt x="394" y="181"/>
                  <a:pt x="394" y="181"/>
                </a:cubicBezTo>
                <a:cubicBezTo>
                  <a:pt x="117" y="181"/>
                  <a:pt x="117" y="181"/>
                  <a:pt x="117" y="181"/>
                </a:cubicBezTo>
                <a:lnTo>
                  <a:pt x="117" y="160"/>
                </a:lnTo>
                <a:close/>
                <a:moveTo>
                  <a:pt x="117" y="352"/>
                </a:moveTo>
                <a:cubicBezTo>
                  <a:pt x="394" y="352"/>
                  <a:pt x="394" y="352"/>
                  <a:pt x="394" y="352"/>
                </a:cubicBezTo>
                <a:cubicBezTo>
                  <a:pt x="394" y="224"/>
                  <a:pt x="394" y="224"/>
                  <a:pt x="394" y="224"/>
                </a:cubicBezTo>
                <a:cubicBezTo>
                  <a:pt x="117" y="224"/>
                  <a:pt x="117" y="224"/>
                  <a:pt x="117" y="224"/>
                </a:cubicBezTo>
                <a:lnTo>
                  <a:pt x="117" y="352"/>
                </a:lnTo>
                <a:close/>
                <a:moveTo>
                  <a:pt x="149" y="309"/>
                </a:moveTo>
                <a:cubicBezTo>
                  <a:pt x="256" y="309"/>
                  <a:pt x="256" y="309"/>
                  <a:pt x="256" y="309"/>
                </a:cubicBezTo>
                <a:cubicBezTo>
                  <a:pt x="262" y="309"/>
                  <a:pt x="266" y="314"/>
                  <a:pt x="266" y="320"/>
                </a:cubicBezTo>
                <a:cubicBezTo>
                  <a:pt x="266" y="326"/>
                  <a:pt x="262" y="330"/>
                  <a:pt x="256" y="330"/>
                </a:cubicBezTo>
                <a:cubicBezTo>
                  <a:pt x="149" y="330"/>
                  <a:pt x="149" y="330"/>
                  <a:pt x="149" y="330"/>
                </a:cubicBezTo>
                <a:cubicBezTo>
                  <a:pt x="143" y="330"/>
                  <a:pt x="138" y="326"/>
                  <a:pt x="138" y="320"/>
                </a:cubicBezTo>
                <a:cubicBezTo>
                  <a:pt x="138" y="314"/>
                  <a:pt x="143" y="309"/>
                  <a:pt x="149" y="309"/>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1" name="Freeform 992"/>
          <p:cNvSpPr>
            <a:spLocks noChangeAspect="1" noEditPoints="1"/>
          </p:cNvSpPr>
          <p:nvPr/>
        </p:nvSpPr>
        <p:spPr bwMode="auto">
          <a:xfrm>
            <a:off x="495519" y="3272786"/>
            <a:ext cx="432000" cy="432000"/>
          </a:xfrm>
          <a:custGeom>
            <a:avLst/>
            <a:gdLst>
              <a:gd name="T0" fmla="*/ 158 w 512"/>
              <a:gd name="T1" fmla="*/ 373 h 512"/>
              <a:gd name="T2" fmla="*/ 353 w 512"/>
              <a:gd name="T3" fmla="*/ 373 h 512"/>
              <a:gd name="T4" fmla="*/ 381 w 512"/>
              <a:gd name="T5" fmla="*/ 224 h 512"/>
              <a:gd name="T6" fmla="*/ 130 w 512"/>
              <a:gd name="T7" fmla="*/ 224 h 512"/>
              <a:gd name="T8" fmla="*/ 158 w 512"/>
              <a:gd name="T9" fmla="*/ 373 h 512"/>
              <a:gd name="T10" fmla="*/ 309 w 512"/>
              <a:gd name="T11" fmla="*/ 256 h 512"/>
              <a:gd name="T12" fmla="*/ 320 w 512"/>
              <a:gd name="T13" fmla="*/ 245 h 512"/>
              <a:gd name="T14" fmla="*/ 330 w 512"/>
              <a:gd name="T15" fmla="*/ 256 h 512"/>
              <a:gd name="T16" fmla="*/ 330 w 512"/>
              <a:gd name="T17" fmla="*/ 341 h 512"/>
              <a:gd name="T18" fmla="*/ 320 w 512"/>
              <a:gd name="T19" fmla="*/ 352 h 512"/>
              <a:gd name="T20" fmla="*/ 309 w 512"/>
              <a:gd name="T21" fmla="*/ 341 h 512"/>
              <a:gd name="T22" fmla="*/ 309 w 512"/>
              <a:gd name="T23" fmla="*/ 256 h 512"/>
              <a:gd name="T24" fmla="*/ 266 w 512"/>
              <a:gd name="T25" fmla="*/ 256 h 512"/>
              <a:gd name="T26" fmla="*/ 277 w 512"/>
              <a:gd name="T27" fmla="*/ 245 h 512"/>
              <a:gd name="T28" fmla="*/ 288 w 512"/>
              <a:gd name="T29" fmla="*/ 256 h 512"/>
              <a:gd name="T30" fmla="*/ 288 w 512"/>
              <a:gd name="T31" fmla="*/ 341 h 512"/>
              <a:gd name="T32" fmla="*/ 277 w 512"/>
              <a:gd name="T33" fmla="*/ 352 h 512"/>
              <a:gd name="T34" fmla="*/ 266 w 512"/>
              <a:gd name="T35" fmla="*/ 341 h 512"/>
              <a:gd name="T36" fmla="*/ 266 w 512"/>
              <a:gd name="T37" fmla="*/ 256 h 512"/>
              <a:gd name="T38" fmla="*/ 224 w 512"/>
              <a:gd name="T39" fmla="*/ 256 h 512"/>
              <a:gd name="T40" fmla="*/ 234 w 512"/>
              <a:gd name="T41" fmla="*/ 245 h 512"/>
              <a:gd name="T42" fmla="*/ 245 w 512"/>
              <a:gd name="T43" fmla="*/ 256 h 512"/>
              <a:gd name="T44" fmla="*/ 245 w 512"/>
              <a:gd name="T45" fmla="*/ 341 h 512"/>
              <a:gd name="T46" fmla="*/ 234 w 512"/>
              <a:gd name="T47" fmla="*/ 352 h 512"/>
              <a:gd name="T48" fmla="*/ 224 w 512"/>
              <a:gd name="T49" fmla="*/ 341 h 512"/>
              <a:gd name="T50" fmla="*/ 224 w 512"/>
              <a:gd name="T51" fmla="*/ 256 h 512"/>
              <a:gd name="T52" fmla="*/ 181 w 512"/>
              <a:gd name="T53" fmla="*/ 256 h 512"/>
              <a:gd name="T54" fmla="*/ 192 w 512"/>
              <a:gd name="T55" fmla="*/ 245 h 512"/>
              <a:gd name="T56" fmla="*/ 202 w 512"/>
              <a:gd name="T57" fmla="*/ 256 h 512"/>
              <a:gd name="T58" fmla="*/ 202 w 512"/>
              <a:gd name="T59" fmla="*/ 341 h 512"/>
              <a:gd name="T60" fmla="*/ 192 w 512"/>
              <a:gd name="T61" fmla="*/ 352 h 512"/>
              <a:gd name="T62" fmla="*/ 181 w 512"/>
              <a:gd name="T63" fmla="*/ 341 h 512"/>
              <a:gd name="T64" fmla="*/ 181 w 512"/>
              <a:gd name="T65" fmla="*/ 256 h 512"/>
              <a:gd name="T66" fmla="*/ 256 w 512"/>
              <a:gd name="T67" fmla="*/ 0 h 512"/>
              <a:gd name="T68" fmla="*/ 0 w 512"/>
              <a:gd name="T69" fmla="*/ 256 h 512"/>
              <a:gd name="T70" fmla="*/ 256 w 512"/>
              <a:gd name="T71" fmla="*/ 512 h 512"/>
              <a:gd name="T72" fmla="*/ 512 w 512"/>
              <a:gd name="T73" fmla="*/ 256 h 512"/>
              <a:gd name="T74" fmla="*/ 256 w 512"/>
              <a:gd name="T75" fmla="*/ 0 h 512"/>
              <a:gd name="T76" fmla="*/ 405 w 512"/>
              <a:gd name="T77" fmla="*/ 224 h 512"/>
              <a:gd name="T78" fmla="*/ 403 w 512"/>
              <a:gd name="T79" fmla="*/ 224 h 512"/>
              <a:gd name="T80" fmla="*/ 373 w 512"/>
              <a:gd name="T81" fmla="*/ 386 h 512"/>
              <a:gd name="T82" fmla="*/ 362 w 512"/>
              <a:gd name="T83" fmla="*/ 394 h 512"/>
              <a:gd name="T84" fmla="*/ 149 w 512"/>
              <a:gd name="T85" fmla="*/ 394 h 512"/>
              <a:gd name="T86" fmla="*/ 139 w 512"/>
              <a:gd name="T87" fmla="*/ 386 h 512"/>
              <a:gd name="T88" fmla="*/ 108 w 512"/>
              <a:gd name="T89" fmla="*/ 224 h 512"/>
              <a:gd name="T90" fmla="*/ 106 w 512"/>
              <a:gd name="T91" fmla="*/ 224 h 512"/>
              <a:gd name="T92" fmla="*/ 96 w 512"/>
              <a:gd name="T93" fmla="*/ 213 h 512"/>
              <a:gd name="T94" fmla="*/ 106 w 512"/>
              <a:gd name="T95" fmla="*/ 202 h 512"/>
              <a:gd name="T96" fmla="*/ 143 w 512"/>
              <a:gd name="T97" fmla="*/ 202 h 512"/>
              <a:gd name="T98" fmla="*/ 204 w 512"/>
              <a:gd name="T99" fmla="*/ 111 h 512"/>
              <a:gd name="T100" fmla="*/ 219 w 512"/>
              <a:gd name="T101" fmla="*/ 108 h 512"/>
              <a:gd name="T102" fmla="*/ 222 w 512"/>
              <a:gd name="T103" fmla="*/ 123 h 512"/>
              <a:gd name="T104" fmla="*/ 169 w 512"/>
              <a:gd name="T105" fmla="*/ 202 h 512"/>
              <a:gd name="T106" fmla="*/ 342 w 512"/>
              <a:gd name="T107" fmla="*/ 202 h 512"/>
              <a:gd name="T108" fmla="*/ 289 w 512"/>
              <a:gd name="T109" fmla="*/ 123 h 512"/>
              <a:gd name="T110" fmla="*/ 292 w 512"/>
              <a:gd name="T111" fmla="*/ 108 h 512"/>
              <a:gd name="T112" fmla="*/ 307 w 512"/>
              <a:gd name="T113" fmla="*/ 111 h 512"/>
              <a:gd name="T114" fmla="*/ 368 w 512"/>
              <a:gd name="T115" fmla="*/ 202 h 512"/>
              <a:gd name="T116" fmla="*/ 405 w 512"/>
              <a:gd name="T117" fmla="*/ 202 h 512"/>
              <a:gd name="T118" fmla="*/ 416 w 512"/>
              <a:gd name="T119" fmla="*/ 213 h 512"/>
              <a:gd name="T120" fmla="*/ 405 w 512"/>
              <a:gd name="T121" fmla="*/ 22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158" y="373"/>
                </a:moveTo>
                <a:cubicBezTo>
                  <a:pt x="353" y="373"/>
                  <a:pt x="353" y="373"/>
                  <a:pt x="353" y="373"/>
                </a:cubicBezTo>
                <a:cubicBezTo>
                  <a:pt x="381" y="224"/>
                  <a:pt x="381" y="224"/>
                  <a:pt x="381" y="224"/>
                </a:cubicBezTo>
                <a:cubicBezTo>
                  <a:pt x="130" y="224"/>
                  <a:pt x="130" y="224"/>
                  <a:pt x="130" y="224"/>
                </a:cubicBezTo>
                <a:lnTo>
                  <a:pt x="158" y="373"/>
                </a:lnTo>
                <a:close/>
                <a:moveTo>
                  <a:pt x="309" y="256"/>
                </a:moveTo>
                <a:cubicBezTo>
                  <a:pt x="309" y="250"/>
                  <a:pt x="314" y="245"/>
                  <a:pt x="320" y="245"/>
                </a:cubicBezTo>
                <a:cubicBezTo>
                  <a:pt x="326" y="245"/>
                  <a:pt x="330" y="250"/>
                  <a:pt x="330" y="256"/>
                </a:cubicBezTo>
                <a:cubicBezTo>
                  <a:pt x="330" y="341"/>
                  <a:pt x="330" y="341"/>
                  <a:pt x="330" y="341"/>
                </a:cubicBezTo>
                <a:cubicBezTo>
                  <a:pt x="330" y="347"/>
                  <a:pt x="326" y="352"/>
                  <a:pt x="320" y="352"/>
                </a:cubicBezTo>
                <a:cubicBezTo>
                  <a:pt x="314" y="352"/>
                  <a:pt x="309" y="347"/>
                  <a:pt x="309" y="341"/>
                </a:cubicBezTo>
                <a:lnTo>
                  <a:pt x="309" y="256"/>
                </a:lnTo>
                <a:close/>
                <a:moveTo>
                  <a:pt x="266" y="256"/>
                </a:moveTo>
                <a:cubicBezTo>
                  <a:pt x="266" y="250"/>
                  <a:pt x="271" y="245"/>
                  <a:pt x="277" y="245"/>
                </a:cubicBezTo>
                <a:cubicBezTo>
                  <a:pt x="283" y="245"/>
                  <a:pt x="288" y="250"/>
                  <a:pt x="288" y="256"/>
                </a:cubicBezTo>
                <a:cubicBezTo>
                  <a:pt x="288" y="341"/>
                  <a:pt x="288" y="341"/>
                  <a:pt x="288" y="341"/>
                </a:cubicBezTo>
                <a:cubicBezTo>
                  <a:pt x="288" y="347"/>
                  <a:pt x="283" y="352"/>
                  <a:pt x="277" y="352"/>
                </a:cubicBezTo>
                <a:cubicBezTo>
                  <a:pt x="271" y="352"/>
                  <a:pt x="266" y="347"/>
                  <a:pt x="266" y="341"/>
                </a:cubicBezTo>
                <a:lnTo>
                  <a:pt x="266" y="256"/>
                </a:lnTo>
                <a:close/>
                <a:moveTo>
                  <a:pt x="224" y="256"/>
                </a:moveTo>
                <a:cubicBezTo>
                  <a:pt x="224" y="250"/>
                  <a:pt x="228" y="245"/>
                  <a:pt x="234" y="245"/>
                </a:cubicBezTo>
                <a:cubicBezTo>
                  <a:pt x="240" y="245"/>
                  <a:pt x="245" y="250"/>
                  <a:pt x="245" y="256"/>
                </a:cubicBezTo>
                <a:cubicBezTo>
                  <a:pt x="245" y="341"/>
                  <a:pt x="245" y="341"/>
                  <a:pt x="245" y="341"/>
                </a:cubicBezTo>
                <a:cubicBezTo>
                  <a:pt x="245" y="347"/>
                  <a:pt x="240" y="352"/>
                  <a:pt x="234" y="352"/>
                </a:cubicBezTo>
                <a:cubicBezTo>
                  <a:pt x="228" y="352"/>
                  <a:pt x="224" y="347"/>
                  <a:pt x="224" y="341"/>
                </a:cubicBezTo>
                <a:lnTo>
                  <a:pt x="224" y="256"/>
                </a:lnTo>
                <a:close/>
                <a:moveTo>
                  <a:pt x="181" y="256"/>
                </a:moveTo>
                <a:cubicBezTo>
                  <a:pt x="181" y="250"/>
                  <a:pt x="186" y="245"/>
                  <a:pt x="192" y="245"/>
                </a:cubicBezTo>
                <a:cubicBezTo>
                  <a:pt x="198" y="245"/>
                  <a:pt x="202" y="250"/>
                  <a:pt x="202" y="256"/>
                </a:cubicBezTo>
                <a:cubicBezTo>
                  <a:pt x="202" y="341"/>
                  <a:pt x="202" y="341"/>
                  <a:pt x="202" y="341"/>
                </a:cubicBezTo>
                <a:cubicBezTo>
                  <a:pt x="202" y="347"/>
                  <a:pt x="198" y="352"/>
                  <a:pt x="192" y="352"/>
                </a:cubicBezTo>
                <a:cubicBezTo>
                  <a:pt x="186" y="352"/>
                  <a:pt x="181" y="347"/>
                  <a:pt x="181" y="341"/>
                </a:cubicBezTo>
                <a:lnTo>
                  <a:pt x="181" y="256"/>
                </a:ln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24"/>
                </a:moveTo>
                <a:cubicBezTo>
                  <a:pt x="403" y="224"/>
                  <a:pt x="403" y="224"/>
                  <a:pt x="403" y="224"/>
                </a:cubicBezTo>
                <a:cubicBezTo>
                  <a:pt x="373" y="386"/>
                  <a:pt x="373" y="386"/>
                  <a:pt x="373" y="386"/>
                </a:cubicBezTo>
                <a:cubicBezTo>
                  <a:pt x="372" y="391"/>
                  <a:pt x="367" y="394"/>
                  <a:pt x="362" y="394"/>
                </a:cubicBezTo>
                <a:cubicBezTo>
                  <a:pt x="149" y="394"/>
                  <a:pt x="149" y="394"/>
                  <a:pt x="149" y="394"/>
                </a:cubicBezTo>
                <a:cubicBezTo>
                  <a:pt x="144" y="394"/>
                  <a:pt x="139" y="391"/>
                  <a:pt x="139" y="386"/>
                </a:cubicBezTo>
                <a:cubicBezTo>
                  <a:pt x="108" y="224"/>
                  <a:pt x="108" y="224"/>
                  <a:pt x="108" y="224"/>
                </a:cubicBezTo>
                <a:cubicBezTo>
                  <a:pt x="106" y="224"/>
                  <a:pt x="106" y="224"/>
                  <a:pt x="106" y="224"/>
                </a:cubicBezTo>
                <a:cubicBezTo>
                  <a:pt x="100" y="224"/>
                  <a:pt x="96" y="219"/>
                  <a:pt x="96" y="213"/>
                </a:cubicBezTo>
                <a:cubicBezTo>
                  <a:pt x="96" y="207"/>
                  <a:pt x="100" y="202"/>
                  <a:pt x="106" y="202"/>
                </a:cubicBezTo>
                <a:cubicBezTo>
                  <a:pt x="143" y="202"/>
                  <a:pt x="143" y="202"/>
                  <a:pt x="143" y="202"/>
                </a:cubicBezTo>
                <a:cubicBezTo>
                  <a:pt x="204" y="111"/>
                  <a:pt x="204" y="111"/>
                  <a:pt x="204" y="111"/>
                </a:cubicBezTo>
                <a:cubicBezTo>
                  <a:pt x="207" y="106"/>
                  <a:pt x="214" y="105"/>
                  <a:pt x="219" y="108"/>
                </a:cubicBezTo>
                <a:cubicBezTo>
                  <a:pt x="224" y="111"/>
                  <a:pt x="225" y="118"/>
                  <a:pt x="222" y="123"/>
                </a:cubicBezTo>
                <a:cubicBezTo>
                  <a:pt x="169" y="202"/>
                  <a:pt x="169" y="202"/>
                  <a:pt x="169" y="202"/>
                </a:cubicBezTo>
                <a:cubicBezTo>
                  <a:pt x="342" y="202"/>
                  <a:pt x="342" y="202"/>
                  <a:pt x="342" y="202"/>
                </a:cubicBezTo>
                <a:cubicBezTo>
                  <a:pt x="289" y="123"/>
                  <a:pt x="289" y="123"/>
                  <a:pt x="289" y="123"/>
                </a:cubicBezTo>
                <a:cubicBezTo>
                  <a:pt x="286" y="118"/>
                  <a:pt x="288" y="111"/>
                  <a:pt x="292" y="108"/>
                </a:cubicBezTo>
                <a:cubicBezTo>
                  <a:pt x="297" y="105"/>
                  <a:pt x="304" y="106"/>
                  <a:pt x="307" y="111"/>
                </a:cubicBezTo>
                <a:cubicBezTo>
                  <a:pt x="368" y="202"/>
                  <a:pt x="368" y="202"/>
                  <a:pt x="368" y="202"/>
                </a:cubicBezTo>
                <a:cubicBezTo>
                  <a:pt x="405" y="202"/>
                  <a:pt x="405" y="202"/>
                  <a:pt x="405" y="202"/>
                </a:cubicBezTo>
                <a:cubicBezTo>
                  <a:pt x="411" y="202"/>
                  <a:pt x="416" y="207"/>
                  <a:pt x="416" y="213"/>
                </a:cubicBezTo>
                <a:cubicBezTo>
                  <a:pt x="416" y="219"/>
                  <a:pt x="411" y="224"/>
                  <a:pt x="405" y="224"/>
                </a:cubicBez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2" name="Freeform 346"/>
          <p:cNvSpPr>
            <a:spLocks noChangeAspect="1" noEditPoints="1"/>
          </p:cNvSpPr>
          <p:nvPr/>
        </p:nvSpPr>
        <p:spPr bwMode="auto">
          <a:xfrm>
            <a:off x="506917" y="1822499"/>
            <a:ext cx="432000" cy="432000"/>
          </a:xfrm>
          <a:custGeom>
            <a:avLst/>
            <a:gdLst>
              <a:gd name="T0" fmla="*/ 277 w 512"/>
              <a:gd name="T1" fmla="*/ 394 h 512"/>
              <a:gd name="T2" fmla="*/ 149 w 512"/>
              <a:gd name="T3" fmla="*/ 202 h 512"/>
              <a:gd name="T4" fmla="*/ 170 w 512"/>
              <a:gd name="T5" fmla="*/ 224 h 512"/>
              <a:gd name="T6" fmla="*/ 266 w 512"/>
              <a:gd name="T7" fmla="*/ 234 h 512"/>
              <a:gd name="T8" fmla="*/ 170 w 512"/>
              <a:gd name="T9" fmla="*/ 245 h 512"/>
              <a:gd name="T10" fmla="*/ 170 w 512"/>
              <a:gd name="T11" fmla="*/ 224 h 512"/>
              <a:gd name="T12" fmla="*/ 256 w 512"/>
              <a:gd name="T13" fmla="*/ 266 h 512"/>
              <a:gd name="T14" fmla="*/ 256 w 512"/>
              <a:gd name="T15" fmla="*/ 288 h 512"/>
              <a:gd name="T16" fmla="*/ 160 w 512"/>
              <a:gd name="T17" fmla="*/ 277 h 512"/>
              <a:gd name="T18" fmla="*/ 170 w 512"/>
              <a:gd name="T19" fmla="*/ 309 h 512"/>
              <a:gd name="T20" fmla="*/ 266 w 512"/>
              <a:gd name="T21" fmla="*/ 320 h 512"/>
              <a:gd name="T22" fmla="*/ 170 w 512"/>
              <a:gd name="T23" fmla="*/ 330 h 512"/>
              <a:gd name="T24" fmla="*/ 170 w 512"/>
              <a:gd name="T25" fmla="*/ 309 h 512"/>
              <a:gd name="T26" fmla="*/ 256 w 512"/>
              <a:gd name="T27" fmla="*/ 352 h 512"/>
              <a:gd name="T28" fmla="*/ 256 w 512"/>
              <a:gd name="T29" fmla="*/ 373 h 512"/>
              <a:gd name="T30" fmla="*/ 160 w 512"/>
              <a:gd name="T31" fmla="*/ 362 h 512"/>
              <a:gd name="T32" fmla="*/ 256 w 512"/>
              <a:gd name="T33" fmla="*/ 0 h 512"/>
              <a:gd name="T34" fmla="*/ 256 w 512"/>
              <a:gd name="T35" fmla="*/ 512 h 512"/>
              <a:gd name="T36" fmla="*/ 256 w 512"/>
              <a:gd name="T37" fmla="*/ 0 h 512"/>
              <a:gd name="T38" fmla="*/ 288 w 512"/>
              <a:gd name="T39" fmla="*/ 416 h 512"/>
              <a:gd name="T40" fmla="*/ 128 w 512"/>
              <a:gd name="T41" fmla="*/ 405 h 512"/>
              <a:gd name="T42" fmla="*/ 138 w 512"/>
              <a:gd name="T43" fmla="*/ 181 h 512"/>
              <a:gd name="T44" fmla="*/ 298 w 512"/>
              <a:gd name="T45" fmla="*/ 192 h 512"/>
              <a:gd name="T46" fmla="*/ 341 w 512"/>
              <a:gd name="T47" fmla="*/ 362 h 512"/>
              <a:gd name="T48" fmla="*/ 320 w 512"/>
              <a:gd name="T49" fmla="*/ 362 h 512"/>
              <a:gd name="T50" fmla="*/ 181 w 512"/>
              <a:gd name="T51" fmla="*/ 160 h 512"/>
              <a:gd name="T52" fmla="*/ 181 w 512"/>
              <a:gd name="T53" fmla="*/ 138 h 512"/>
              <a:gd name="T54" fmla="*/ 341 w 512"/>
              <a:gd name="T55" fmla="*/ 149 h 512"/>
              <a:gd name="T56" fmla="*/ 384 w 512"/>
              <a:gd name="T57" fmla="*/ 320 h 512"/>
              <a:gd name="T58" fmla="*/ 362 w 512"/>
              <a:gd name="T59" fmla="*/ 320 h 512"/>
              <a:gd name="T60" fmla="*/ 224 w 512"/>
              <a:gd name="T61" fmla="*/ 117 h 512"/>
              <a:gd name="T62" fmla="*/ 224 w 512"/>
              <a:gd name="T63" fmla="*/ 96 h 512"/>
              <a:gd name="T64" fmla="*/ 384 w 512"/>
              <a:gd name="T65" fmla="*/ 10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2" h="512">
                <a:moveTo>
                  <a:pt x="149" y="394"/>
                </a:moveTo>
                <a:cubicBezTo>
                  <a:pt x="277" y="394"/>
                  <a:pt x="277" y="394"/>
                  <a:pt x="277" y="394"/>
                </a:cubicBezTo>
                <a:cubicBezTo>
                  <a:pt x="277" y="202"/>
                  <a:pt x="277" y="202"/>
                  <a:pt x="277" y="202"/>
                </a:cubicBezTo>
                <a:cubicBezTo>
                  <a:pt x="149" y="202"/>
                  <a:pt x="149" y="202"/>
                  <a:pt x="149" y="202"/>
                </a:cubicBezTo>
                <a:lnTo>
                  <a:pt x="149" y="394"/>
                </a:lnTo>
                <a:close/>
                <a:moveTo>
                  <a:pt x="170" y="224"/>
                </a:moveTo>
                <a:cubicBezTo>
                  <a:pt x="256" y="224"/>
                  <a:pt x="256" y="224"/>
                  <a:pt x="256" y="224"/>
                </a:cubicBezTo>
                <a:cubicBezTo>
                  <a:pt x="262" y="224"/>
                  <a:pt x="266" y="228"/>
                  <a:pt x="266" y="234"/>
                </a:cubicBezTo>
                <a:cubicBezTo>
                  <a:pt x="266" y="240"/>
                  <a:pt x="262" y="245"/>
                  <a:pt x="256" y="245"/>
                </a:cubicBezTo>
                <a:cubicBezTo>
                  <a:pt x="170" y="245"/>
                  <a:pt x="170" y="245"/>
                  <a:pt x="170" y="245"/>
                </a:cubicBezTo>
                <a:cubicBezTo>
                  <a:pt x="164" y="245"/>
                  <a:pt x="160" y="240"/>
                  <a:pt x="160" y="234"/>
                </a:cubicBezTo>
                <a:cubicBezTo>
                  <a:pt x="160" y="228"/>
                  <a:pt x="164" y="224"/>
                  <a:pt x="170" y="224"/>
                </a:cubicBezTo>
                <a:close/>
                <a:moveTo>
                  <a:pt x="170" y="266"/>
                </a:moveTo>
                <a:cubicBezTo>
                  <a:pt x="256" y="266"/>
                  <a:pt x="256" y="266"/>
                  <a:pt x="256" y="266"/>
                </a:cubicBezTo>
                <a:cubicBezTo>
                  <a:pt x="262" y="266"/>
                  <a:pt x="266" y="271"/>
                  <a:pt x="266" y="277"/>
                </a:cubicBezTo>
                <a:cubicBezTo>
                  <a:pt x="266" y="283"/>
                  <a:pt x="262" y="288"/>
                  <a:pt x="256" y="288"/>
                </a:cubicBezTo>
                <a:cubicBezTo>
                  <a:pt x="170" y="288"/>
                  <a:pt x="170" y="288"/>
                  <a:pt x="170" y="288"/>
                </a:cubicBezTo>
                <a:cubicBezTo>
                  <a:pt x="164" y="288"/>
                  <a:pt x="160" y="283"/>
                  <a:pt x="160" y="277"/>
                </a:cubicBezTo>
                <a:cubicBezTo>
                  <a:pt x="160" y="271"/>
                  <a:pt x="164" y="266"/>
                  <a:pt x="170" y="266"/>
                </a:cubicBezTo>
                <a:close/>
                <a:moveTo>
                  <a:pt x="170" y="309"/>
                </a:moveTo>
                <a:cubicBezTo>
                  <a:pt x="256" y="309"/>
                  <a:pt x="256" y="309"/>
                  <a:pt x="256" y="309"/>
                </a:cubicBezTo>
                <a:cubicBezTo>
                  <a:pt x="262" y="309"/>
                  <a:pt x="266" y="314"/>
                  <a:pt x="266" y="320"/>
                </a:cubicBezTo>
                <a:cubicBezTo>
                  <a:pt x="266" y="326"/>
                  <a:pt x="262" y="330"/>
                  <a:pt x="256" y="330"/>
                </a:cubicBezTo>
                <a:cubicBezTo>
                  <a:pt x="170" y="330"/>
                  <a:pt x="170" y="330"/>
                  <a:pt x="170" y="330"/>
                </a:cubicBezTo>
                <a:cubicBezTo>
                  <a:pt x="164" y="330"/>
                  <a:pt x="160" y="326"/>
                  <a:pt x="160" y="320"/>
                </a:cubicBezTo>
                <a:cubicBezTo>
                  <a:pt x="160" y="314"/>
                  <a:pt x="164" y="309"/>
                  <a:pt x="170" y="309"/>
                </a:cubicBezTo>
                <a:close/>
                <a:moveTo>
                  <a:pt x="170" y="352"/>
                </a:moveTo>
                <a:cubicBezTo>
                  <a:pt x="256" y="352"/>
                  <a:pt x="256" y="352"/>
                  <a:pt x="256" y="352"/>
                </a:cubicBezTo>
                <a:cubicBezTo>
                  <a:pt x="262" y="352"/>
                  <a:pt x="266" y="356"/>
                  <a:pt x="266" y="362"/>
                </a:cubicBezTo>
                <a:cubicBezTo>
                  <a:pt x="266" y="368"/>
                  <a:pt x="262" y="373"/>
                  <a:pt x="256" y="373"/>
                </a:cubicBezTo>
                <a:cubicBezTo>
                  <a:pt x="170" y="373"/>
                  <a:pt x="170" y="373"/>
                  <a:pt x="170" y="373"/>
                </a:cubicBezTo>
                <a:cubicBezTo>
                  <a:pt x="164" y="373"/>
                  <a:pt x="160" y="368"/>
                  <a:pt x="160" y="362"/>
                </a:cubicBezTo>
                <a:cubicBezTo>
                  <a:pt x="160" y="356"/>
                  <a:pt x="164" y="352"/>
                  <a:pt x="170" y="3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98" y="405"/>
                </a:moveTo>
                <a:cubicBezTo>
                  <a:pt x="298" y="411"/>
                  <a:pt x="294" y="416"/>
                  <a:pt x="288" y="416"/>
                </a:cubicBezTo>
                <a:cubicBezTo>
                  <a:pt x="138" y="416"/>
                  <a:pt x="138" y="416"/>
                  <a:pt x="138" y="416"/>
                </a:cubicBezTo>
                <a:cubicBezTo>
                  <a:pt x="132" y="416"/>
                  <a:pt x="128" y="411"/>
                  <a:pt x="128" y="405"/>
                </a:cubicBezTo>
                <a:cubicBezTo>
                  <a:pt x="128" y="192"/>
                  <a:pt x="128" y="192"/>
                  <a:pt x="128" y="192"/>
                </a:cubicBezTo>
                <a:cubicBezTo>
                  <a:pt x="128" y="186"/>
                  <a:pt x="132" y="181"/>
                  <a:pt x="138" y="181"/>
                </a:cubicBezTo>
                <a:cubicBezTo>
                  <a:pt x="288" y="181"/>
                  <a:pt x="288" y="181"/>
                  <a:pt x="288" y="181"/>
                </a:cubicBezTo>
                <a:cubicBezTo>
                  <a:pt x="294" y="181"/>
                  <a:pt x="298" y="186"/>
                  <a:pt x="298" y="192"/>
                </a:cubicBezTo>
                <a:lnTo>
                  <a:pt x="298" y="405"/>
                </a:lnTo>
                <a:close/>
                <a:moveTo>
                  <a:pt x="341" y="362"/>
                </a:moveTo>
                <a:cubicBezTo>
                  <a:pt x="341" y="368"/>
                  <a:pt x="336" y="373"/>
                  <a:pt x="330" y="373"/>
                </a:cubicBezTo>
                <a:cubicBezTo>
                  <a:pt x="324" y="373"/>
                  <a:pt x="320" y="368"/>
                  <a:pt x="320" y="362"/>
                </a:cubicBezTo>
                <a:cubicBezTo>
                  <a:pt x="320" y="160"/>
                  <a:pt x="320" y="160"/>
                  <a:pt x="320" y="160"/>
                </a:cubicBezTo>
                <a:cubicBezTo>
                  <a:pt x="181" y="160"/>
                  <a:pt x="181" y="160"/>
                  <a:pt x="181" y="160"/>
                </a:cubicBezTo>
                <a:cubicBezTo>
                  <a:pt x="175" y="160"/>
                  <a:pt x="170" y="155"/>
                  <a:pt x="170" y="149"/>
                </a:cubicBezTo>
                <a:cubicBezTo>
                  <a:pt x="170" y="143"/>
                  <a:pt x="175" y="138"/>
                  <a:pt x="181" y="138"/>
                </a:cubicBezTo>
                <a:cubicBezTo>
                  <a:pt x="330" y="138"/>
                  <a:pt x="330" y="138"/>
                  <a:pt x="330" y="138"/>
                </a:cubicBezTo>
                <a:cubicBezTo>
                  <a:pt x="336" y="138"/>
                  <a:pt x="341" y="143"/>
                  <a:pt x="341" y="149"/>
                </a:cubicBezTo>
                <a:lnTo>
                  <a:pt x="341" y="362"/>
                </a:lnTo>
                <a:close/>
                <a:moveTo>
                  <a:pt x="384" y="320"/>
                </a:moveTo>
                <a:cubicBezTo>
                  <a:pt x="384" y="326"/>
                  <a:pt x="379" y="330"/>
                  <a:pt x="373" y="330"/>
                </a:cubicBezTo>
                <a:cubicBezTo>
                  <a:pt x="367" y="330"/>
                  <a:pt x="362" y="326"/>
                  <a:pt x="362" y="320"/>
                </a:cubicBezTo>
                <a:cubicBezTo>
                  <a:pt x="362" y="117"/>
                  <a:pt x="362" y="117"/>
                  <a:pt x="362" y="117"/>
                </a:cubicBezTo>
                <a:cubicBezTo>
                  <a:pt x="224" y="117"/>
                  <a:pt x="224" y="117"/>
                  <a:pt x="224" y="117"/>
                </a:cubicBezTo>
                <a:cubicBezTo>
                  <a:pt x="218" y="117"/>
                  <a:pt x="213" y="112"/>
                  <a:pt x="213" y="106"/>
                </a:cubicBezTo>
                <a:cubicBezTo>
                  <a:pt x="213" y="100"/>
                  <a:pt x="218" y="96"/>
                  <a:pt x="224" y="96"/>
                </a:cubicBezTo>
                <a:cubicBezTo>
                  <a:pt x="373" y="96"/>
                  <a:pt x="373" y="96"/>
                  <a:pt x="373" y="96"/>
                </a:cubicBezTo>
                <a:cubicBezTo>
                  <a:pt x="379" y="96"/>
                  <a:pt x="384" y="100"/>
                  <a:pt x="384" y="106"/>
                </a:cubicBezTo>
                <a:lnTo>
                  <a:pt x="384" y="320"/>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4" name="Freeform 429"/>
          <p:cNvSpPr>
            <a:spLocks noChangeAspect="1" noEditPoints="1"/>
          </p:cNvSpPr>
          <p:nvPr/>
        </p:nvSpPr>
        <p:spPr bwMode="auto">
          <a:xfrm>
            <a:off x="495519" y="4960780"/>
            <a:ext cx="432000" cy="43327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07 w 512"/>
              <a:gd name="T11" fmla="*/ 245 h 512"/>
              <a:gd name="T12" fmla="*/ 277 w 512"/>
              <a:gd name="T13" fmla="*/ 245 h 512"/>
              <a:gd name="T14" fmla="*/ 288 w 512"/>
              <a:gd name="T15" fmla="*/ 256 h 512"/>
              <a:gd name="T16" fmla="*/ 277 w 512"/>
              <a:gd name="T17" fmla="*/ 266 h 512"/>
              <a:gd name="T18" fmla="*/ 220 w 512"/>
              <a:gd name="T19" fmla="*/ 266 h 512"/>
              <a:gd name="T20" fmla="*/ 181 w 512"/>
              <a:gd name="T21" fmla="*/ 394 h 512"/>
              <a:gd name="T22" fmla="*/ 341 w 512"/>
              <a:gd name="T23" fmla="*/ 394 h 512"/>
              <a:gd name="T24" fmla="*/ 352 w 512"/>
              <a:gd name="T25" fmla="*/ 405 h 512"/>
              <a:gd name="T26" fmla="*/ 341 w 512"/>
              <a:gd name="T27" fmla="*/ 416 h 512"/>
              <a:gd name="T28" fmla="*/ 160 w 512"/>
              <a:gd name="T29" fmla="*/ 416 h 512"/>
              <a:gd name="T30" fmla="*/ 150 w 512"/>
              <a:gd name="T31" fmla="*/ 410 h 512"/>
              <a:gd name="T32" fmla="*/ 151 w 512"/>
              <a:gd name="T33" fmla="*/ 399 h 512"/>
              <a:gd name="T34" fmla="*/ 156 w 512"/>
              <a:gd name="T35" fmla="*/ 392 h 512"/>
              <a:gd name="T36" fmla="*/ 197 w 512"/>
              <a:gd name="T37" fmla="*/ 266 h 512"/>
              <a:gd name="T38" fmla="*/ 149 w 512"/>
              <a:gd name="T39" fmla="*/ 266 h 512"/>
              <a:gd name="T40" fmla="*/ 138 w 512"/>
              <a:gd name="T41" fmla="*/ 256 h 512"/>
              <a:gd name="T42" fmla="*/ 149 w 512"/>
              <a:gd name="T43" fmla="*/ 245 h 512"/>
              <a:gd name="T44" fmla="*/ 178 w 512"/>
              <a:gd name="T45" fmla="*/ 245 h 512"/>
              <a:gd name="T46" fmla="*/ 160 w 512"/>
              <a:gd name="T47" fmla="*/ 192 h 512"/>
              <a:gd name="T48" fmla="*/ 256 w 512"/>
              <a:gd name="T49" fmla="*/ 96 h 512"/>
              <a:gd name="T50" fmla="*/ 352 w 512"/>
              <a:gd name="T51" fmla="*/ 192 h 512"/>
              <a:gd name="T52" fmla="*/ 341 w 512"/>
              <a:gd name="T53" fmla="*/ 202 h 512"/>
              <a:gd name="T54" fmla="*/ 330 w 512"/>
              <a:gd name="T55" fmla="*/ 192 h 512"/>
              <a:gd name="T56" fmla="*/ 256 w 512"/>
              <a:gd name="T57" fmla="*/ 117 h 512"/>
              <a:gd name="T58" fmla="*/ 181 w 512"/>
              <a:gd name="T59" fmla="*/ 192 h 512"/>
              <a:gd name="T60" fmla="*/ 207 w 512"/>
              <a:gd name="T61"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07" y="245"/>
                </a:moveTo>
                <a:cubicBezTo>
                  <a:pt x="277" y="245"/>
                  <a:pt x="277" y="245"/>
                  <a:pt x="277" y="245"/>
                </a:cubicBezTo>
                <a:cubicBezTo>
                  <a:pt x="283" y="245"/>
                  <a:pt x="288" y="250"/>
                  <a:pt x="288" y="256"/>
                </a:cubicBezTo>
                <a:cubicBezTo>
                  <a:pt x="288" y="262"/>
                  <a:pt x="283" y="266"/>
                  <a:pt x="277" y="266"/>
                </a:cubicBezTo>
                <a:cubicBezTo>
                  <a:pt x="220" y="266"/>
                  <a:pt x="220" y="266"/>
                  <a:pt x="220" y="266"/>
                </a:cubicBezTo>
                <a:cubicBezTo>
                  <a:pt x="238" y="312"/>
                  <a:pt x="203" y="366"/>
                  <a:pt x="181" y="394"/>
                </a:cubicBezTo>
                <a:cubicBezTo>
                  <a:pt x="341" y="394"/>
                  <a:pt x="341" y="394"/>
                  <a:pt x="341" y="394"/>
                </a:cubicBezTo>
                <a:cubicBezTo>
                  <a:pt x="347" y="394"/>
                  <a:pt x="352" y="399"/>
                  <a:pt x="352" y="405"/>
                </a:cubicBezTo>
                <a:cubicBezTo>
                  <a:pt x="352" y="411"/>
                  <a:pt x="347" y="416"/>
                  <a:pt x="341" y="416"/>
                </a:cubicBezTo>
                <a:cubicBezTo>
                  <a:pt x="160" y="416"/>
                  <a:pt x="160" y="416"/>
                  <a:pt x="160" y="416"/>
                </a:cubicBezTo>
                <a:cubicBezTo>
                  <a:pt x="156" y="416"/>
                  <a:pt x="152" y="414"/>
                  <a:pt x="150" y="410"/>
                </a:cubicBezTo>
                <a:cubicBezTo>
                  <a:pt x="148" y="407"/>
                  <a:pt x="149" y="402"/>
                  <a:pt x="151" y="399"/>
                </a:cubicBezTo>
                <a:cubicBezTo>
                  <a:pt x="152" y="398"/>
                  <a:pt x="153" y="396"/>
                  <a:pt x="156" y="392"/>
                </a:cubicBezTo>
                <a:cubicBezTo>
                  <a:pt x="200" y="337"/>
                  <a:pt x="214" y="294"/>
                  <a:pt x="197" y="266"/>
                </a:cubicBezTo>
                <a:cubicBezTo>
                  <a:pt x="149" y="266"/>
                  <a:pt x="149" y="266"/>
                  <a:pt x="149" y="266"/>
                </a:cubicBezTo>
                <a:cubicBezTo>
                  <a:pt x="143" y="266"/>
                  <a:pt x="138" y="262"/>
                  <a:pt x="138" y="256"/>
                </a:cubicBezTo>
                <a:cubicBezTo>
                  <a:pt x="138" y="250"/>
                  <a:pt x="143" y="245"/>
                  <a:pt x="149" y="245"/>
                </a:cubicBezTo>
                <a:cubicBezTo>
                  <a:pt x="178" y="245"/>
                  <a:pt x="178" y="245"/>
                  <a:pt x="178" y="245"/>
                </a:cubicBezTo>
                <a:cubicBezTo>
                  <a:pt x="166" y="229"/>
                  <a:pt x="160" y="210"/>
                  <a:pt x="160" y="192"/>
                </a:cubicBezTo>
                <a:cubicBezTo>
                  <a:pt x="160" y="139"/>
                  <a:pt x="203" y="96"/>
                  <a:pt x="256" y="96"/>
                </a:cubicBezTo>
                <a:cubicBezTo>
                  <a:pt x="309" y="96"/>
                  <a:pt x="352" y="139"/>
                  <a:pt x="352" y="192"/>
                </a:cubicBezTo>
                <a:cubicBezTo>
                  <a:pt x="352" y="198"/>
                  <a:pt x="347" y="202"/>
                  <a:pt x="341" y="202"/>
                </a:cubicBezTo>
                <a:cubicBezTo>
                  <a:pt x="335" y="202"/>
                  <a:pt x="330" y="198"/>
                  <a:pt x="330" y="192"/>
                </a:cubicBezTo>
                <a:cubicBezTo>
                  <a:pt x="330" y="150"/>
                  <a:pt x="297" y="117"/>
                  <a:pt x="256" y="117"/>
                </a:cubicBezTo>
                <a:cubicBezTo>
                  <a:pt x="214" y="117"/>
                  <a:pt x="181" y="150"/>
                  <a:pt x="181" y="192"/>
                </a:cubicBezTo>
                <a:cubicBezTo>
                  <a:pt x="181" y="210"/>
                  <a:pt x="190" y="230"/>
                  <a:pt x="207" y="245"/>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55" name="Freeform 803"/>
          <p:cNvSpPr>
            <a:spLocks noChangeAspect="1" noEditPoints="1"/>
          </p:cNvSpPr>
          <p:nvPr/>
        </p:nvSpPr>
        <p:spPr bwMode="auto">
          <a:xfrm>
            <a:off x="495519" y="5527153"/>
            <a:ext cx="432000" cy="432000"/>
          </a:xfrm>
          <a:custGeom>
            <a:avLst/>
            <a:gdLst>
              <a:gd name="T0" fmla="*/ 352 w 512"/>
              <a:gd name="T1" fmla="*/ 256 h 512"/>
              <a:gd name="T2" fmla="*/ 288 w 512"/>
              <a:gd name="T3" fmla="*/ 256 h 512"/>
              <a:gd name="T4" fmla="*/ 320 w 512"/>
              <a:gd name="T5" fmla="*/ 246 h 512"/>
              <a:gd name="T6" fmla="*/ 331 w 512"/>
              <a:gd name="T7" fmla="*/ 256 h 512"/>
              <a:gd name="T8" fmla="*/ 310 w 512"/>
              <a:gd name="T9" fmla="*/ 256 h 512"/>
              <a:gd name="T10" fmla="*/ 171 w 512"/>
              <a:gd name="T11" fmla="*/ 181 h 512"/>
              <a:gd name="T12" fmla="*/ 171 w 512"/>
              <a:gd name="T13" fmla="*/ 203 h 512"/>
              <a:gd name="T14" fmla="*/ 182 w 512"/>
              <a:gd name="T15" fmla="*/ 320 h 512"/>
              <a:gd name="T16" fmla="*/ 171 w 512"/>
              <a:gd name="T17" fmla="*/ 353 h 512"/>
              <a:gd name="T18" fmla="*/ 395 w 512"/>
              <a:gd name="T19" fmla="*/ 161 h 512"/>
              <a:gd name="T20" fmla="*/ 171 w 512"/>
              <a:gd name="T21" fmla="*/ 181 h 512"/>
              <a:gd name="T22" fmla="*/ 374 w 512"/>
              <a:gd name="T23" fmla="*/ 256 h 512"/>
              <a:gd name="T24" fmla="*/ 267 w 512"/>
              <a:gd name="T25" fmla="*/ 256 h 512"/>
              <a:gd name="T26" fmla="*/ 118 w 512"/>
              <a:gd name="T27" fmla="*/ 161 h 512"/>
              <a:gd name="T28" fmla="*/ 150 w 512"/>
              <a:gd name="T29" fmla="*/ 181 h 512"/>
              <a:gd name="T30" fmla="*/ 150 w 512"/>
              <a:gd name="T31" fmla="*/ 203 h 512"/>
              <a:gd name="T32" fmla="*/ 139 w 512"/>
              <a:gd name="T33" fmla="*/ 320 h 512"/>
              <a:gd name="T34" fmla="*/ 150 w 512"/>
              <a:gd name="T35" fmla="*/ 353 h 512"/>
              <a:gd name="T36" fmla="*/ 118 w 512"/>
              <a:gd name="T37" fmla="*/ 161 h 512"/>
              <a:gd name="T38" fmla="*/ 0 w 512"/>
              <a:gd name="T39" fmla="*/ 256 h 512"/>
              <a:gd name="T40" fmla="*/ 512 w 512"/>
              <a:gd name="T41" fmla="*/ 256 h 512"/>
              <a:gd name="T42" fmla="*/ 416 w 512"/>
              <a:gd name="T43" fmla="*/ 363 h 512"/>
              <a:gd name="T44" fmla="*/ 363 w 512"/>
              <a:gd name="T45" fmla="*/ 374 h 512"/>
              <a:gd name="T46" fmla="*/ 363 w 512"/>
              <a:gd name="T47" fmla="*/ 395 h 512"/>
              <a:gd name="T48" fmla="*/ 310 w 512"/>
              <a:gd name="T49" fmla="*/ 385 h 512"/>
              <a:gd name="T50" fmla="*/ 192 w 512"/>
              <a:gd name="T51" fmla="*/ 374 h 512"/>
              <a:gd name="T52" fmla="*/ 192 w 512"/>
              <a:gd name="T53" fmla="*/ 395 h 512"/>
              <a:gd name="T54" fmla="*/ 139 w 512"/>
              <a:gd name="T55" fmla="*/ 385 h 512"/>
              <a:gd name="T56" fmla="*/ 107 w 512"/>
              <a:gd name="T57" fmla="*/ 374 h 512"/>
              <a:gd name="T58" fmla="*/ 96 w 512"/>
              <a:gd name="T59" fmla="*/ 149 h 512"/>
              <a:gd name="T60" fmla="*/ 406 w 512"/>
              <a:gd name="T61" fmla="*/ 139 h 512"/>
              <a:gd name="T62" fmla="*/ 416 w 512"/>
              <a:gd name="T63" fmla="*/ 36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2" h="512">
                <a:moveTo>
                  <a:pt x="320" y="288"/>
                </a:moveTo>
                <a:cubicBezTo>
                  <a:pt x="338" y="288"/>
                  <a:pt x="352" y="274"/>
                  <a:pt x="352" y="256"/>
                </a:cubicBezTo>
                <a:cubicBezTo>
                  <a:pt x="352" y="238"/>
                  <a:pt x="338" y="224"/>
                  <a:pt x="320" y="224"/>
                </a:cubicBezTo>
                <a:cubicBezTo>
                  <a:pt x="303" y="224"/>
                  <a:pt x="288" y="238"/>
                  <a:pt x="288" y="256"/>
                </a:cubicBezTo>
                <a:cubicBezTo>
                  <a:pt x="288" y="274"/>
                  <a:pt x="303" y="288"/>
                  <a:pt x="320" y="288"/>
                </a:cubicBezTo>
                <a:close/>
                <a:moveTo>
                  <a:pt x="320" y="246"/>
                </a:moveTo>
                <a:cubicBezTo>
                  <a:pt x="321" y="246"/>
                  <a:pt x="321" y="246"/>
                  <a:pt x="321" y="246"/>
                </a:cubicBezTo>
                <a:cubicBezTo>
                  <a:pt x="326" y="246"/>
                  <a:pt x="331" y="250"/>
                  <a:pt x="331" y="256"/>
                </a:cubicBezTo>
                <a:cubicBezTo>
                  <a:pt x="331" y="262"/>
                  <a:pt x="326" y="267"/>
                  <a:pt x="321" y="267"/>
                </a:cubicBezTo>
                <a:cubicBezTo>
                  <a:pt x="315" y="267"/>
                  <a:pt x="310" y="262"/>
                  <a:pt x="310" y="256"/>
                </a:cubicBezTo>
                <a:cubicBezTo>
                  <a:pt x="310" y="251"/>
                  <a:pt x="315" y="246"/>
                  <a:pt x="320" y="246"/>
                </a:cubicBezTo>
                <a:close/>
                <a:moveTo>
                  <a:pt x="171" y="181"/>
                </a:moveTo>
                <a:cubicBezTo>
                  <a:pt x="177" y="181"/>
                  <a:pt x="182" y="186"/>
                  <a:pt x="182" y="192"/>
                </a:cubicBezTo>
                <a:cubicBezTo>
                  <a:pt x="182" y="198"/>
                  <a:pt x="177" y="203"/>
                  <a:pt x="171" y="203"/>
                </a:cubicBezTo>
                <a:cubicBezTo>
                  <a:pt x="171" y="309"/>
                  <a:pt x="171" y="309"/>
                  <a:pt x="171" y="309"/>
                </a:cubicBezTo>
                <a:cubicBezTo>
                  <a:pt x="177" y="309"/>
                  <a:pt x="182" y="314"/>
                  <a:pt x="182" y="320"/>
                </a:cubicBezTo>
                <a:cubicBezTo>
                  <a:pt x="182" y="326"/>
                  <a:pt x="177" y="331"/>
                  <a:pt x="171" y="331"/>
                </a:cubicBezTo>
                <a:cubicBezTo>
                  <a:pt x="171" y="353"/>
                  <a:pt x="171" y="353"/>
                  <a:pt x="171" y="353"/>
                </a:cubicBezTo>
                <a:cubicBezTo>
                  <a:pt x="395" y="353"/>
                  <a:pt x="395" y="353"/>
                  <a:pt x="395" y="353"/>
                </a:cubicBezTo>
                <a:cubicBezTo>
                  <a:pt x="395" y="161"/>
                  <a:pt x="395" y="161"/>
                  <a:pt x="395" y="161"/>
                </a:cubicBezTo>
                <a:cubicBezTo>
                  <a:pt x="171" y="161"/>
                  <a:pt x="171" y="161"/>
                  <a:pt x="171" y="161"/>
                </a:cubicBezTo>
                <a:lnTo>
                  <a:pt x="171" y="181"/>
                </a:lnTo>
                <a:close/>
                <a:moveTo>
                  <a:pt x="320" y="203"/>
                </a:moveTo>
                <a:cubicBezTo>
                  <a:pt x="350" y="203"/>
                  <a:pt x="374" y="227"/>
                  <a:pt x="374" y="256"/>
                </a:cubicBezTo>
                <a:cubicBezTo>
                  <a:pt x="374" y="285"/>
                  <a:pt x="350" y="309"/>
                  <a:pt x="320" y="309"/>
                </a:cubicBezTo>
                <a:cubicBezTo>
                  <a:pt x="291" y="309"/>
                  <a:pt x="267" y="285"/>
                  <a:pt x="267" y="256"/>
                </a:cubicBezTo>
                <a:cubicBezTo>
                  <a:pt x="267" y="227"/>
                  <a:pt x="291" y="203"/>
                  <a:pt x="320" y="203"/>
                </a:cubicBezTo>
                <a:close/>
                <a:moveTo>
                  <a:pt x="118" y="161"/>
                </a:moveTo>
                <a:cubicBezTo>
                  <a:pt x="150" y="161"/>
                  <a:pt x="150" y="161"/>
                  <a:pt x="150" y="161"/>
                </a:cubicBezTo>
                <a:cubicBezTo>
                  <a:pt x="150" y="181"/>
                  <a:pt x="150" y="181"/>
                  <a:pt x="150" y="181"/>
                </a:cubicBezTo>
                <a:cubicBezTo>
                  <a:pt x="144" y="181"/>
                  <a:pt x="139" y="186"/>
                  <a:pt x="139" y="192"/>
                </a:cubicBezTo>
                <a:cubicBezTo>
                  <a:pt x="139" y="198"/>
                  <a:pt x="144" y="203"/>
                  <a:pt x="150" y="203"/>
                </a:cubicBezTo>
                <a:cubicBezTo>
                  <a:pt x="150" y="309"/>
                  <a:pt x="150" y="309"/>
                  <a:pt x="150" y="309"/>
                </a:cubicBezTo>
                <a:cubicBezTo>
                  <a:pt x="144" y="309"/>
                  <a:pt x="139" y="314"/>
                  <a:pt x="139" y="320"/>
                </a:cubicBezTo>
                <a:cubicBezTo>
                  <a:pt x="139" y="326"/>
                  <a:pt x="144" y="331"/>
                  <a:pt x="150" y="331"/>
                </a:cubicBezTo>
                <a:cubicBezTo>
                  <a:pt x="150" y="353"/>
                  <a:pt x="150" y="353"/>
                  <a:pt x="150" y="353"/>
                </a:cubicBezTo>
                <a:cubicBezTo>
                  <a:pt x="118" y="353"/>
                  <a:pt x="118" y="353"/>
                  <a:pt x="118" y="353"/>
                </a:cubicBezTo>
                <a:lnTo>
                  <a:pt x="118" y="161"/>
                </a:lnTo>
                <a:close/>
                <a:moveTo>
                  <a:pt x="256" y="0"/>
                </a:moveTo>
                <a:cubicBezTo>
                  <a:pt x="115" y="0"/>
                  <a:pt x="0" y="115"/>
                  <a:pt x="0" y="256"/>
                </a:cubicBezTo>
                <a:cubicBezTo>
                  <a:pt x="0" y="397"/>
                  <a:pt x="115" y="512"/>
                  <a:pt x="256" y="512"/>
                </a:cubicBezTo>
                <a:cubicBezTo>
                  <a:pt x="398" y="512"/>
                  <a:pt x="512" y="397"/>
                  <a:pt x="512" y="256"/>
                </a:cubicBezTo>
                <a:cubicBezTo>
                  <a:pt x="512" y="115"/>
                  <a:pt x="398" y="0"/>
                  <a:pt x="256" y="0"/>
                </a:cubicBezTo>
                <a:close/>
                <a:moveTo>
                  <a:pt x="416" y="363"/>
                </a:moveTo>
                <a:cubicBezTo>
                  <a:pt x="416" y="369"/>
                  <a:pt x="412" y="374"/>
                  <a:pt x="406" y="374"/>
                </a:cubicBezTo>
                <a:cubicBezTo>
                  <a:pt x="363" y="374"/>
                  <a:pt x="363" y="374"/>
                  <a:pt x="363" y="374"/>
                </a:cubicBezTo>
                <a:cubicBezTo>
                  <a:pt x="369" y="374"/>
                  <a:pt x="374" y="379"/>
                  <a:pt x="374" y="385"/>
                </a:cubicBezTo>
                <a:cubicBezTo>
                  <a:pt x="374" y="391"/>
                  <a:pt x="369" y="395"/>
                  <a:pt x="363" y="395"/>
                </a:cubicBezTo>
                <a:cubicBezTo>
                  <a:pt x="320" y="395"/>
                  <a:pt x="320" y="395"/>
                  <a:pt x="320" y="395"/>
                </a:cubicBezTo>
                <a:cubicBezTo>
                  <a:pt x="314" y="395"/>
                  <a:pt x="310" y="391"/>
                  <a:pt x="310" y="385"/>
                </a:cubicBezTo>
                <a:cubicBezTo>
                  <a:pt x="310" y="379"/>
                  <a:pt x="314" y="374"/>
                  <a:pt x="320" y="374"/>
                </a:cubicBezTo>
                <a:cubicBezTo>
                  <a:pt x="192" y="374"/>
                  <a:pt x="192" y="374"/>
                  <a:pt x="192" y="374"/>
                </a:cubicBezTo>
                <a:cubicBezTo>
                  <a:pt x="198" y="374"/>
                  <a:pt x="203" y="379"/>
                  <a:pt x="203" y="385"/>
                </a:cubicBezTo>
                <a:cubicBezTo>
                  <a:pt x="203" y="391"/>
                  <a:pt x="198" y="395"/>
                  <a:pt x="192" y="395"/>
                </a:cubicBezTo>
                <a:cubicBezTo>
                  <a:pt x="150" y="395"/>
                  <a:pt x="150" y="395"/>
                  <a:pt x="150" y="395"/>
                </a:cubicBezTo>
                <a:cubicBezTo>
                  <a:pt x="144" y="395"/>
                  <a:pt x="139" y="391"/>
                  <a:pt x="139" y="385"/>
                </a:cubicBezTo>
                <a:cubicBezTo>
                  <a:pt x="139" y="379"/>
                  <a:pt x="144" y="374"/>
                  <a:pt x="150" y="374"/>
                </a:cubicBezTo>
                <a:cubicBezTo>
                  <a:pt x="107" y="374"/>
                  <a:pt x="107" y="374"/>
                  <a:pt x="107" y="374"/>
                </a:cubicBezTo>
                <a:cubicBezTo>
                  <a:pt x="101" y="374"/>
                  <a:pt x="96" y="369"/>
                  <a:pt x="96" y="363"/>
                </a:cubicBezTo>
                <a:cubicBezTo>
                  <a:pt x="96" y="149"/>
                  <a:pt x="96" y="149"/>
                  <a:pt x="96" y="149"/>
                </a:cubicBezTo>
                <a:cubicBezTo>
                  <a:pt x="96" y="143"/>
                  <a:pt x="101" y="139"/>
                  <a:pt x="107" y="139"/>
                </a:cubicBezTo>
                <a:cubicBezTo>
                  <a:pt x="406" y="139"/>
                  <a:pt x="406" y="139"/>
                  <a:pt x="406" y="139"/>
                </a:cubicBezTo>
                <a:cubicBezTo>
                  <a:pt x="412" y="139"/>
                  <a:pt x="416" y="143"/>
                  <a:pt x="416" y="149"/>
                </a:cubicBezTo>
                <a:lnTo>
                  <a:pt x="416" y="363"/>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50722429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331633" y="1016000"/>
            <a:ext cx="8374062" cy="4678986"/>
          </a:xfrm>
        </p:spPr>
        <p:txBody>
          <a:bodyPr/>
          <a:lstStyle/>
          <a:p>
            <a:pPr>
              <a:buNone/>
            </a:pPr>
            <a:endParaRPr lang="en-GB" sz="1800" b="1" dirty="0"/>
          </a:p>
          <a:p>
            <a:pPr marL="1077913">
              <a:spcBef>
                <a:spcPts val="600"/>
              </a:spcBef>
              <a:buNone/>
            </a:pPr>
            <a:r>
              <a:rPr lang="en-GB" sz="1800" b="1" dirty="0" smtClean="0"/>
              <a:t>Health </a:t>
            </a:r>
            <a:r>
              <a:rPr lang="en-GB" sz="1800" b="1" dirty="0"/>
              <a:t>and </a:t>
            </a:r>
            <a:r>
              <a:rPr lang="en-GB" sz="1800" b="1" dirty="0" smtClean="0"/>
              <a:t>Safety </a:t>
            </a:r>
            <a:r>
              <a:rPr lang="en-GB" sz="1800" b="1" i="1" dirty="0" smtClean="0"/>
              <a:t>- </a:t>
            </a:r>
            <a:r>
              <a:rPr lang="en-GB" sz="1800" dirty="0" smtClean="0"/>
              <a:t>insufficient </a:t>
            </a:r>
            <a:r>
              <a:rPr lang="en-GB" sz="1800" dirty="0"/>
              <a:t>training </a:t>
            </a:r>
            <a:r>
              <a:rPr lang="en-GB" sz="1800" dirty="0" smtClean="0"/>
              <a:t>for </a:t>
            </a:r>
            <a:r>
              <a:rPr lang="en-GB" sz="1800" dirty="0"/>
              <a:t>fire </a:t>
            </a:r>
            <a:r>
              <a:rPr lang="en-GB" sz="1800" dirty="0" smtClean="0"/>
              <a:t>wardens and other </a:t>
            </a:r>
            <a:r>
              <a:rPr lang="en-GB" sz="1800" dirty="0"/>
              <a:t>areas pertaining to health and </a:t>
            </a:r>
            <a:r>
              <a:rPr lang="en-GB" sz="1800" dirty="0" smtClean="0"/>
              <a:t>safety. Responsibilities for risk assessments and safety inspections not understood.  </a:t>
            </a:r>
            <a:endParaRPr lang="en-GB" sz="1800" dirty="0"/>
          </a:p>
          <a:p>
            <a:pPr marL="1077913">
              <a:spcBef>
                <a:spcPts val="600"/>
              </a:spcBef>
              <a:buNone/>
            </a:pPr>
            <a:r>
              <a:rPr lang="en-GB" sz="1800" b="1" dirty="0"/>
              <a:t>Estate Management </a:t>
            </a:r>
            <a:r>
              <a:rPr lang="en-GB" sz="1800" b="1" i="1" dirty="0" smtClean="0"/>
              <a:t>- </a:t>
            </a:r>
            <a:r>
              <a:rPr lang="en-GB" sz="1800" dirty="0" smtClean="0"/>
              <a:t>lack </a:t>
            </a:r>
            <a:r>
              <a:rPr lang="en-GB" sz="1800" dirty="0"/>
              <a:t>of awareness of </a:t>
            </a:r>
            <a:r>
              <a:rPr lang="en-GB" sz="1800" dirty="0" smtClean="0"/>
              <a:t>the </a:t>
            </a:r>
            <a:r>
              <a:rPr lang="en-GB" sz="1800" dirty="0"/>
              <a:t>University’s space utilisation guidelines. </a:t>
            </a:r>
            <a:r>
              <a:rPr lang="en-GB" sz="1800" dirty="0" smtClean="0"/>
              <a:t>Informal </a:t>
            </a:r>
            <a:r>
              <a:rPr lang="en-GB" sz="1800" dirty="0"/>
              <a:t>and disparate systems for sharing space. </a:t>
            </a:r>
            <a:endParaRPr lang="en-GB" sz="1800" dirty="0" smtClean="0"/>
          </a:p>
          <a:p>
            <a:pPr marL="1077913">
              <a:spcBef>
                <a:spcPts val="600"/>
              </a:spcBef>
              <a:buNone/>
            </a:pPr>
            <a:r>
              <a:rPr lang="en-GB" sz="1800" b="1" dirty="0" smtClean="0"/>
              <a:t>IT Controls –</a:t>
            </a:r>
            <a:r>
              <a:rPr lang="en-GB" sz="1800" dirty="0" smtClean="0"/>
              <a:t> </a:t>
            </a:r>
            <a:r>
              <a:rPr lang="en-US" sz="1800" dirty="0" smtClean="0"/>
              <a:t>Non completion of regular backups, testing </a:t>
            </a:r>
            <a:r>
              <a:rPr lang="en-US" sz="1800" dirty="0"/>
              <a:t>of restoration </a:t>
            </a:r>
            <a:r>
              <a:rPr lang="en-US" sz="1800" dirty="0" smtClean="0"/>
              <a:t>processes. Lack of suitable firewalls in </a:t>
            </a:r>
            <a:r>
              <a:rPr lang="en-US" sz="1800" dirty="0"/>
              <a:t>place and </a:t>
            </a:r>
            <a:r>
              <a:rPr lang="en-US" sz="1800" dirty="0" smtClean="0"/>
              <a:t>a lack of periodic </a:t>
            </a:r>
            <a:r>
              <a:rPr lang="en-US" sz="1800" dirty="0"/>
              <a:t>reviews of system </a:t>
            </a:r>
            <a:r>
              <a:rPr lang="en-US" sz="1800" dirty="0" smtClean="0"/>
              <a:t>access. </a:t>
            </a:r>
          </a:p>
          <a:p>
            <a:pPr marL="1077913">
              <a:spcBef>
                <a:spcPts val="600"/>
              </a:spcBef>
              <a:buNone/>
            </a:pPr>
            <a:r>
              <a:rPr lang="en-US" sz="1800" b="1" dirty="0"/>
              <a:t>Risk Management </a:t>
            </a:r>
            <a:r>
              <a:rPr lang="en-US" sz="1800" b="1" dirty="0" smtClean="0"/>
              <a:t>– </a:t>
            </a:r>
            <a:r>
              <a:rPr lang="en-US" sz="1800" dirty="0" smtClean="0"/>
              <a:t>Local </a:t>
            </a:r>
            <a:r>
              <a:rPr lang="en-US" sz="1800" dirty="0"/>
              <a:t>risk registers </a:t>
            </a:r>
            <a:r>
              <a:rPr lang="en-US" sz="1800" dirty="0" smtClean="0"/>
              <a:t>not subject to a review.</a:t>
            </a:r>
            <a:endParaRPr lang="en-GB" sz="1800" dirty="0"/>
          </a:p>
          <a:p>
            <a:pPr marL="171450" indent="-171450">
              <a:buFont typeface="Wingdings" panose="05000000000000000000" pitchFamily="2" charset="2"/>
              <a:buChar char="§"/>
            </a:pPr>
            <a:endParaRPr lang="en-US" dirty="0" smtClean="0"/>
          </a:p>
          <a:p>
            <a:pPr marL="171450" indent="-171450">
              <a:buFont typeface="Wingdings" panose="05000000000000000000" pitchFamily="2" charset="2"/>
              <a:buChar char="§"/>
            </a:pPr>
            <a:endParaRPr lang="en-GB" dirty="0"/>
          </a:p>
          <a:p>
            <a:pPr marL="171450" indent="-171450">
              <a:buFont typeface="Wingdings" panose="05000000000000000000" pitchFamily="2" charset="2"/>
              <a:buChar char="§"/>
            </a:pPr>
            <a:endParaRPr lang="en-GB" dirty="0"/>
          </a:p>
          <a:p>
            <a:pPr marL="171450" indent="-171450">
              <a:buFont typeface="Wingdings" panose="05000000000000000000" pitchFamily="2" charset="2"/>
              <a:buChar char="§"/>
            </a:pPr>
            <a:endParaRPr lang="en-GB" dirty="0"/>
          </a:p>
          <a:p>
            <a:endParaRPr lang="en-GB" dirty="0">
              <a:solidFill>
                <a:srgbClr val="FF0000"/>
              </a:solidFill>
            </a:endParaRPr>
          </a:p>
          <a:p>
            <a:endParaRPr lang="en-GB" dirty="0">
              <a:solidFill>
                <a:srgbClr val="FF0000"/>
              </a:solidFill>
            </a:endParaRPr>
          </a:p>
          <a:p>
            <a:endParaRPr lang="en-GB" dirty="0"/>
          </a:p>
        </p:txBody>
      </p:sp>
      <p:sp>
        <p:nvSpPr>
          <p:cNvPr id="5" name="Footer Placeholder 4"/>
          <p:cNvSpPr>
            <a:spLocks noGrp="1"/>
          </p:cNvSpPr>
          <p:nvPr>
            <p:ph type="ftr" sz="quarter" idx="14"/>
          </p:nvPr>
        </p:nvSpPr>
        <p:spPr/>
        <p:txBody>
          <a:bodyPr/>
          <a:lstStyle/>
          <a:p>
            <a:endParaRPr lang="en-GB" dirty="0" smtClean="0"/>
          </a:p>
          <a:p>
            <a:r>
              <a:rPr lang="en-GB" dirty="0" smtClean="0"/>
              <a:t>© 2018 Deloitte LLP. Private and Confidential.</a:t>
            </a:r>
            <a:endParaRPr lang="en-GB" dirty="0"/>
          </a:p>
        </p:txBody>
      </p:sp>
      <p:sp>
        <p:nvSpPr>
          <p:cNvPr id="3" name="Title 2"/>
          <p:cNvSpPr>
            <a:spLocks noGrp="1"/>
          </p:cNvSpPr>
          <p:nvPr>
            <p:ph type="title"/>
          </p:nvPr>
        </p:nvSpPr>
        <p:spPr>
          <a:xfrm>
            <a:off x="333933" y="422944"/>
            <a:ext cx="8371762" cy="698501"/>
          </a:xfrm>
        </p:spPr>
        <p:txBody>
          <a:bodyPr/>
          <a:lstStyle/>
          <a:p>
            <a:r>
              <a:rPr lang="en-GB" dirty="0"/>
              <a:t>Non-financial areas for improvement:</a:t>
            </a:r>
            <a:br>
              <a:rPr lang="en-GB" dirty="0"/>
            </a:br>
            <a:endParaRPr lang="en-GB" dirty="0"/>
          </a:p>
        </p:txBody>
      </p:sp>
      <p:sp>
        <p:nvSpPr>
          <p:cNvPr id="7" name="Freeform 553"/>
          <p:cNvSpPr>
            <a:spLocks noChangeAspect="1" noEditPoints="1"/>
          </p:cNvSpPr>
          <p:nvPr/>
        </p:nvSpPr>
        <p:spPr bwMode="auto">
          <a:xfrm>
            <a:off x="682404" y="1554209"/>
            <a:ext cx="432000" cy="432000"/>
          </a:xfrm>
          <a:custGeom>
            <a:avLst/>
            <a:gdLst>
              <a:gd name="T0" fmla="*/ 310 w 512"/>
              <a:gd name="T1" fmla="*/ 277 h 512"/>
              <a:gd name="T2" fmla="*/ 202 w 512"/>
              <a:gd name="T3" fmla="*/ 277 h 512"/>
              <a:gd name="T4" fmla="*/ 225 w 512"/>
              <a:gd name="T5" fmla="*/ 202 h 512"/>
              <a:gd name="T6" fmla="*/ 286 w 512"/>
              <a:gd name="T7" fmla="*/ 202 h 512"/>
              <a:gd name="T8" fmla="*/ 310 w 512"/>
              <a:gd name="T9" fmla="*/ 277 h 512"/>
              <a:gd name="T10" fmla="*/ 259 w 512"/>
              <a:gd name="T11" fmla="*/ 117 h 512"/>
              <a:gd name="T12" fmla="*/ 253 w 512"/>
              <a:gd name="T13" fmla="*/ 117 h 512"/>
              <a:gd name="T14" fmla="*/ 232 w 512"/>
              <a:gd name="T15" fmla="*/ 181 h 512"/>
              <a:gd name="T16" fmla="*/ 279 w 512"/>
              <a:gd name="T17" fmla="*/ 181 h 512"/>
              <a:gd name="T18" fmla="*/ 259 w 512"/>
              <a:gd name="T19" fmla="*/ 11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94 w 512"/>
              <a:gd name="T31" fmla="*/ 384 h 512"/>
              <a:gd name="T32" fmla="*/ 384 w 512"/>
              <a:gd name="T33" fmla="*/ 373 h 512"/>
              <a:gd name="T34" fmla="*/ 362 w 512"/>
              <a:gd name="T35" fmla="*/ 373 h 512"/>
              <a:gd name="T36" fmla="*/ 362 w 512"/>
              <a:gd name="T37" fmla="*/ 370 h 512"/>
              <a:gd name="T38" fmla="*/ 276 w 512"/>
              <a:gd name="T39" fmla="*/ 103 h 512"/>
              <a:gd name="T40" fmla="*/ 266 w 512"/>
              <a:gd name="T41" fmla="*/ 96 h 512"/>
              <a:gd name="T42" fmla="*/ 245 w 512"/>
              <a:gd name="T43" fmla="*/ 96 h 512"/>
              <a:gd name="T44" fmla="*/ 235 w 512"/>
              <a:gd name="T45" fmla="*/ 103 h 512"/>
              <a:gd name="T46" fmla="*/ 150 w 512"/>
              <a:gd name="T47" fmla="*/ 370 h 512"/>
              <a:gd name="T48" fmla="*/ 149 w 512"/>
              <a:gd name="T49" fmla="*/ 373 h 512"/>
              <a:gd name="T50" fmla="*/ 128 w 512"/>
              <a:gd name="T51" fmla="*/ 373 h 512"/>
              <a:gd name="T52" fmla="*/ 117 w 512"/>
              <a:gd name="T53" fmla="*/ 384 h 512"/>
              <a:gd name="T54" fmla="*/ 128 w 512"/>
              <a:gd name="T55" fmla="*/ 394 h 512"/>
              <a:gd name="T56" fmla="*/ 384 w 512"/>
              <a:gd name="T57" fmla="*/ 394 h 512"/>
              <a:gd name="T58" fmla="*/ 394 w 512"/>
              <a:gd name="T59" fmla="*/ 384 h 512"/>
              <a:gd name="T60" fmla="*/ 195 w 512"/>
              <a:gd name="T61" fmla="*/ 298 h 512"/>
              <a:gd name="T62" fmla="*/ 171 w 512"/>
              <a:gd name="T63" fmla="*/ 373 h 512"/>
              <a:gd name="T64" fmla="*/ 340 w 512"/>
              <a:gd name="T65" fmla="*/ 373 h 512"/>
              <a:gd name="T66" fmla="*/ 317 w 512"/>
              <a:gd name="T67" fmla="*/ 298 h 512"/>
              <a:gd name="T68" fmla="*/ 195 w 512"/>
              <a:gd name="T69" fmla="*/ 29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310" y="277"/>
                </a:moveTo>
                <a:cubicBezTo>
                  <a:pt x="202" y="277"/>
                  <a:pt x="202" y="277"/>
                  <a:pt x="202" y="277"/>
                </a:cubicBezTo>
                <a:cubicBezTo>
                  <a:pt x="225" y="202"/>
                  <a:pt x="225" y="202"/>
                  <a:pt x="225" y="202"/>
                </a:cubicBezTo>
                <a:cubicBezTo>
                  <a:pt x="286" y="202"/>
                  <a:pt x="286" y="202"/>
                  <a:pt x="286" y="202"/>
                </a:cubicBezTo>
                <a:lnTo>
                  <a:pt x="310" y="277"/>
                </a:lnTo>
                <a:close/>
                <a:moveTo>
                  <a:pt x="259" y="117"/>
                </a:moveTo>
                <a:cubicBezTo>
                  <a:pt x="253" y="117"/>
                  <a:pt x="253" y="117"/>
                  <a:pt x="253" y="117"/>
                </a:cubicBezTo>
                <a:cubicBezTo>
                  <a:pt x="232" y="181"/>
                  <a:pt x="232" y="181"/>
                  <a:pt x="232" y="181"/>
                </a:cubicBezTo>
                <a:cubicBezTo>
                  <a:pt x="279" y="181"/>
                  <a:pt x="279" y="181"/>
                  <a:pt x="279" y="181"/>
                </a:cubicBezTo>
                <a:lnTo>
                  <a:pt x="259" y="11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384"/>
                </a:moveTo>
                <a:cubicBezTo>
                  <a:pt x="394" y="378"/>
                  <a:pt x="390" y="373"/>
                  <a:pt x="384" y="373"/>
                </a:cubicBezTo>
                <a:cubicBezTo>
                  <a:pt x="362" y="373"/>
                  <a:pt x="362" y="373"/>
                  <a:pt x="362" y="373"/>
                </a:cubicBezTo>
                <a:cubicBezTo>
                  <a:pt x="362" y="373"/>
                  <a:pt x="362" y="371"/>
                  <a:pt x="362" y="370"/>
                </a:cubicBezTo>
                <a:cubicBezTo>
                  <a:pt x="276" y="103"/>
                  <a:pt x="276" y="103"/>
                  <a:pt x="276" y="103"/>
                </a:cubicBezTo>
                <a:cubicBezTo>
                  <a:pt x="275" y="99"/>
                  <a:pt x="271" y="96"/>
                  <a:pt x="266" y="96"/>
                </a:cubicBezTo>
                <a:cubicBezTo>
                  <a:pt x="245" y="96"/>
                  <a:pt x="245" y="96"/>
                  <a:pt x="245" y="96"/>
                </a:cubicBezTo>
                <a:cubicBezTo>
                  <a:pt x="240" y="96"/>
                  <a:pt x="236" y="99"/>
                  <a:pt x="235" y="103"/>
                </a:cubicBezTo>
                <a:cubicBezTo>
                  <a:pt x="150" y="370"/>
                  <a:pt x="150" y="370"/>
                  <a:pt x="150" y="370"/>
                </a:cubicBezTo>
                <a:cubicBezTo>
                  <a:pt x="149" y="371"/>
                  <a:pt x="149" y="373"/>
                  <a:pt x="149" y="373"/>
                </a:cubicBezTo>
                <a:cubicBezTo>
                  <a:pt x="128" y="373"/>
                  <a:pt x="128" y="373"/>
                  <a:pt x="128" y="373"/>
                </a:cubicBezTo>
                <a:cubicBezTo>
                  <a:pt x="122" y="373"/>
                  <a:pt x="117" y="378"/>
                  <a:pt x="117" y="384"/>
                </a:cubicBezTo>
                <a:cubicBezTo>
                  <a:pt x="117" y="390"/>
                  <a:pt x="122" y="394"/>
                  <a:pt x="128" y="394"/>
                </a:cubicBezTo>
                <a:cubicBezTo>
                  <a:pt x="384" y="394"/>
                  <a:pt x="384" y="394"/>
                  <a:pt x="384" y="394"/>
                </a:cubicBezTo>
                <a:cubicBezTo>
                  <a:pt x="390" y="394"/>
                  <a:pt x="394" y="390"/>
                  <a:pt x="394" y="384"/>
                </a:cubicBezTo>
                <a:close/>
                <a:moveTo>
                  <a:pt x="195" y="298"/>
                </a:moveTo>
                <a:cubicBezTo>
                  <a:pt x="171" y="373"/>
                  <a:pt x="171" y="373"/>
                  <a:pt x="171" y="373"/>
                </a:cubicBezTo>
                <a:cubicBezTo>
                  <a:pt x="340" y="373"/>
                  <a:pt x="340" y="373"/>
                  <a:pt x="340" y="373"/>
                </a:cubicBezTo>
                <a:cubicBezTo>
                  <a:pt x="317" y="298"/>
                  <a:pt x="317" y="298"/>
                  <a:pt x="317" y="298"/>
                </a:cubicBezTo>
                <a:lnTo>
                  <a:pt x="195" y="298"/>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 name="Freeform 544"/>
          <p:cNvSpPr>
            <a:spLocks noChangeAspect="1" noEditPoints="1"/>
          </p:cNvSpPr>
          <p:nvPr/>
        </p:nvSpPr>
        <p:spPr bwMode="auto">
          <a:xfrm>
            <a:off x="682404" y="4630325"/>
            <a:ext cx="432000" cy="433276"/>
          </a:xfrm>
          <a:custGeom>
            <a:avLst/>
            <a:gdLst>
              <a:gd name="T0" fmla="*/ 266 w 512"/>
              <a:gd name="T1" fmla="*/ 256 h 512"/>
              <a:gd name="T2" fmla="*/ 256 w 512"/>
              <a:gd name="T3" fmla="*/ 266 h 512"/>
              <a:gd name="T4" fmla="*/ 245 w 512"/>
              <a:gd name="T5" fmla="*/ 256 h 512"/>
              <a:gd name="T6" fmla="*/ 256 w 512"/>
              <a:gd name="T7" fmla="*/ 245 h 512"/>
              <a:gd name="T8" fmla="*/ 266 w 512"/>
              <a:gd name="T9" fmla="*/ 256 h 512"/>
              <a:gd name="T10" fmla="*/ 256 w 512"/>
              <a:gd name="T11" fmla="*/ 160 h 512"/>
              <a:gd name="T12" fmla="*/ 245 w 512"/>
              <a:gd name="T13" fmla="*/ 170 h 512"/>
              <a:gd name="T14" fmla="*/ 256 w 512"/>
              <a:gd name="T15" fmla="*/ 181 h 512"/>
              <a:gd name="T16" fmla="*/ 266 w 512"/>
              <a:gd name="T17" fmla="*/ 170 h 512"/>
              <a:gd name="T18" fmla="*/ 256 w 512"/>
              <a:gd name="T19" fmla="*/ 160 h 512"/>
              <a:gd name="T20" fmla="*/ 256 w 512"/>
              <a:gd name="T21" fmla="*/ 330 h 512"/>
              <a:gd name="T22" fmla="*/ 245 w 512"/>
              <a:gd name="T23" fmla="*/ 341 h 512"/>
              <a:gd name="T24" fmla="*/ 256 w 512"/>
              <a:gd name="T25" fmla="*/ 352 h 512"/>
              <a:gd name="T26" fmla="*/ 266 w 512"/>
              <a:gd name="T27" fmla="*/ 341 h 512"/>
              <a:gd name="T28" fmla="*/ 256 w 512"/>
              <a:gd name="T29" fmla="*/ 330 h 512"/>
              <a:gd name="T30" fmla="*/ 512 w 512"/>
              <a:gd name="T31" fmla="*/ 256 h 512"/>
              <a:gd name="T32" fmla="*/ 256 w 512"/>
              <a:gd name="T33" fmla="*/ 512 h 512"/>
              <a:gd name="T34" fmla="*/ 0 w 512"/>
              <a:gd name="T35" fmla="*/ 256 h 512"/>
              <a:gd name="T36" fmla="*/ 256 w 512"/>
              <a:gd name="T37" fmla="*/ 0 h 512"/>
              <a:gd name="T38" fmla="*/ 512 w 512"/>
              <a:gd name="T39" fmla="*/ 256 h 512"/>
              <a:gd name="T40" fmla="*/ 330 w 512"/>
              <a:gd name="T41" fmla="*/ 138 h 512"/>
              <a:gd name="T42" fmla="*/ 288 w 512"/>
              <a:gd name="T43" fmla="*/ 96 h 512"/>
              <a:gd name="T44" fmla="*/ 224 w 512"/>
              <a:gd name="T45" fmla="*/ 96 h 512"/>
              <a:gd name="T46" fmla="*/ 181 w 512"/>
              <a:gd name="T47" fmla="*/ 138 h 512"/>
              <a:gd name="T48" fmla="*/ 181 w 512"/>
              <a:gd name="T49" fmla="*/ 373 h 512"/>
              <a:gd name="T50" fmla="*/ 224 w 512"/>
              <a:gd name="T51" fmla="*/ 416 h 512"/>
              <a:gd name="T52" fmla="*/ 288 w 512"/>
              <a:gd name="T53" fmla="*/ 416 h 512"/>
              <a:gd name="T54" fmla="*/ 330 w 512"/>
              <a:gd name="T55" fmla="*/ 373 h 512"/>
              <a:gd name="T56" fmla="*/ 330 w 512"/>
              <a:gd name="T57" fmla="*/ 138 h 512"/>
              <a:gd name="T58" fmla="*/ 309 w 512"/>
              <a:gd name="T59" fmla="*/ 138 h 512"/>
              <a:gd name="T60" fmla="*/ 309 w 512"/>
              <a:gd name="T61" fmla="*/ 373 h 512"/>
              <a:gd name="T62" fmla="*/ 288 w 512"/>
              <a:gd name="T63" fmla="*/ 394 h 512"/>
              <a:gd name="T64" fmla="*/ 224 w 512"/>
              <a:gd name="T65" fmla="*/ 394 h 512"/>
              <a:gd name="T66" fmla="*/ 202 w 512"/>
              <a:gd name="T67" fmla="*/ 373 h 512"/>
              <a:gd name="T68" fmla="*/ 202 w 512"/>
              <a:gd name="T69" fmla="*/ 138 h 512"/>
              <a:gd name="T70" fmla="*/ 224 w 512"/>
              <a:gd name="T71" fmla="*/ 117 h 512"/>
              <a:gd name="T72" fmla="*/ 288 w 512"/>
              <a:gd name="T73" fmla="*/ 117 h 512"/>
              <a:gd name="T74" fmla="*/ 309 w 512"/>
              <a:gd name="T75" fmla="*/ 138 h 512"/>
              <a:gd name="T76" fmla="*/ 288 w 512"/>
              <a:gd name="T77" fmla="*/ 341 h 512"/>
              <a:gd name="T78" fmla="*/ 256 w 512"/>
              <a:gd name="T79" fmla="*/ 309 h 512"/>
              <a:gd name="T80" fmla="*/ 224 w 512"/>
              <a:gd name="T81" fmla="*/ 341 h 512"/>
              <a:gd name="T82" fmla="*/ 256 w 512"/>
              <a:gd name="T83" fmla="*/ 373 h 512"/>
              <a:gd name="T84" fmla="*/ 288 w 512"/>
              <a:gd name="T85" fmla="*/ 341 h 512"/>
              <a:gd name="T86" fmla="*/ 288 w 512"/>
              <a:gd name="T87" fmla="*/ 256 h 512"/>
              <a:gd name="T88" fmla="*/ 256 w 512"/>
              <a:gd name="T89" fmla="*/ 224 h 512"/>
              <a:gd name="T90" fmla="*/ 224 w 512"/>
              <a:gd name="T91" fmla="*/ 256 h 512"/>
              <a:gd name="T92" fmla="*/ 256 w 512"/>
              <a:gd name="T93" fmla="*/ 288 h 512"/>
              <a:gd name="T94" fmla="*/ 288 w 512"/>
              <a:gd name="T95" fmla="*/ 256 h 512"/>
              <a:gd name="T96" fmla="*/ 288 w 512"/>
              <a:gd name="T97" fmla="*/ 170 h 512"/>
              <a:gd name="T98" fmla="*/ 256 w 512"/>
              <a:gd name="T99" fmla="*/ 138 h 512"/>
              <a:gd name="T100" fmla="*/ 224 w 512"/>
              <a:gd name="T101" fmla="*/ 170 h 512"/>
              <a:gd name="T102" fmla="*/ 256 w 512"/>
              <a:gd name="T103" fmla="*/ 202 h 512"/>
              <a:gd name="T104" fmla="*/ 288 w 512"/>
              <a:gd name="T105"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66" y="256"/>
                </a:moveTo>
                <a:cubicBezTo>
                  <a:pt x="266" y="262"/>
                  <a:pt x="262" y="266"/>
                  <a:pt x="256" y="266"/>
                </a:cubicBezTo>
                <a:cubicBezTo>
                  <a:pt x="250" y="266"/>
                  <a:pt x="245" y="262"/>
                  <a:pt x="245" y="256"/>
                </a:cubicBezTo>
                <a:cubicBezTo>
                  <a:pt x="245" y="250"/>
                  <a:pt x="250" y="245"/>
                  <a:pt x="256" y="245"/>
                </a:cubicBezTo>
                <a:cubicBezTo>
                  <a:pt x="262" y="245"/>
                  <a:pt x="266" y="250"/>
                  <a:pt x="266" y="256"/>
                </a:cubicBezTo>
                <a:close/>
                <a:moveTo>
                  <a:pt x="256" y="160"/>
                </a:moveTo>
                <a:cubicBezTo>
                  <a:pt x="250" y="160"/>
                  <a:pt x="245" y="164"/>
                  <a:pt x="245" y="170"/>
                </a:cubicBezTo>
                <a:cubicBezTo>
                  <a:pt x="245" y="176"/>
                  <a:pt x="250" y="181"/>
                  <a:pt x="256" y="181"/>
                </a:cubicBezTo>
                <a:cubicBezTo>
                  <a:pt x="262" y="181"/>
                  <a:pt x="266" y="176"/>
                  <a:pt x="266" y="170"/>
                </a:cubicBezTo>
                <a:cubicBezTo>
                  <a:pt x="266" y="164"/>
                  <a:pt x="262" y="160"/>
                  <a:pt x="256" y="160"/>
                </a:cubicBezTo>
                <a:close/>
                <a:moveTo>
                  <a:pt x="256" y="330"/>
                </a:moveTo>
                <a:cubicBezTo>
                  <a:pt x="250" y="330"/>
                  <a:pt x="245" y="335"/>
                  <a:pt x="245" y="341"/>
                </a:cubicBezTo>
                <a:cubicBezTo>
                  <a:pt x="245" y="347"/>
                  <a:pt x="250" y="352"/>
                  <a:pt x="256" y="352"/>
                </a:cubicBezTo>
                <a:cubicBezTo>
                  <a:pt x="262" y="352"/>
                  <a:pt x="266" y="347"/>
                  <a:pt x="266" y="341"/>
                </a:cubicBezTo>
                <a:cubicBezTo>
                  <a:pt x="266" y="335"/>
                  <a:pt x="262" y="330"/>
                  <a:pt x="256" y="33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30" y="138"/>
                </a:moveTo>
                <a:cubicBezTo>
                  <a:pt x="330" y="115"/>
                  <a:pt x="311" y="96"/>
                  <a:pt x="288" y="96"/>
                </a:cubicBezTo>
                <a:cubicBezTo>
                  <a:pt x="224" y="96"/>
                  <a:pt x="224" y="96"/>
                  <a:pt x="224" y="96"/>
                </a:cubicBezTo>
                <a:cubicBezTo>
                  <a:pt x="200" y="96"/>
                  <a:pt x="181" y="115"/>
                  <a:pt x="181" y="138"/>
                </a:cubicBezTo>
                <a:cubicBezTo>
                  <a:pt x="181" y="373"/>
                  <a:pt x="181" y="373"/>
                  <a:pt x="181" y="373"/>
                </a:cubicBezTo>
                <a:cubicBezTo>
                  <a:pt x="181" y="397"/>
                  <a:pt x="200" y="416"/>
                  <a:pt x="224" y="416"/>
                </a:cubicBezTo>
                <a:cubicBezTo>
                  <a:pt x="288" y="416"/>
                  <a:pt x="288" y="416"/>
                  <a:pt x="288" y="416"/>
                </a:cubicBezTo>
                <a:cubicBezTo>
                  <a:pt x="311" y="416"/>
                  <a:pt x="330" y="397"/>
                  <a:pt x="330" y="373"/>
                </a:cubicBezTo>
                <a:lnTo>
                  <a:pt x="330" y="138"/>
                </a:lnTo>
                <a:close/>
                <a:moveTo>
                  <a:pt x="309" y="138"/>
                </a:moveTo>
                <a:cubicBezTo>
                  <a:pt x="309" y="373"/>
                  <a:pt x="309" y="373"/>
                  <a:pt x="309" y="373"/>
                </a:cubicBezTo>
                <a:cubicBezTo>
                  <a:pt x="309" y="385"/>
                  <a:pt x="299" y="394"/>
                  <a:pt x="288" y="394"/>
                </a:cubicBezTo>
                <a:cubicBezTo>
                  <a:pt x="224" y="394"/>
                  <a:pt x="224" y="394"/>
                  <a:pt x="224" y="394"/>
                </a:cubicBezTo>
                <a:cubicBezTo>
                  <a:pt x="212" y="394"/>
                  <a:pt x="202" y="385"/>
                  <a:pt x="202" y="373"/>
                </a:cubicBezTo>
                <a:cubicBezTo>
                  <a:pt x="202" y="138"/>
                  <a:pt x="202" y="138"/>
                  <a:pt x="202" y="138"/>
                </a:cubicBezTo>
                <a:cubicBezTo>
                  <a:pt x="202" y="127"/>
                  <a:pt x="212" y="117"/>
                  <a:pt x="224" y="117"/>
                </a:cubicBezTo>
                <a:cubicBezTo>
                  <a:pt x="288" y="117"/>
                  <a:pt x="288" y="117"/>
                  <a:pt x="288" y="117"/>
                </a:cubicBezTo>
                <a:cubicBezTo>
                  <a:pt x="299" y="117"/>
                  <a:pt x="309" y="127"/>
                  <a:pt x="309" y="138"/>
                </a:cubicBezTo>
                <a:close/>
                <a:moveTo>
                  <a:pt x="288" y="341"/>
                </a:moveTo>
                <a:cubicBezTo>
                  <a:pt x="288" y="323"/>
                  <a:pt x="273" y="309"/>
                  <a:pt x="256" y="309"/>
                </a:cubicBezTo>
                <a:cubicBezTo>
                  <a:pt x="238" y="309"/>
                  <a:pt x="224" y="323"/>
                  <a:pt x="224" y="341"/>
                </a:cubicBezTo>
                <a:cubicBezTo>
                  <a:pt x="224" y="359"/>
                  <a:pt x="238" y="373"/>
                  <a:pt x="256" y="373"/>
                </a:cubicBezTo>
                <a:cubicBezTo>
                  <a:pt x="273" y="373"/>
                  <a:pt x="288" y="359"/>
                  <a:pt x="288" y="341"/>
                </a:cubicBezTo>
                <a:close/>
                <a:moveTo>
                  <a:pt x="288" y="256"/>
                </a:moveTo>
                <a:cubicBezTo>
                  <a:pt x="288" y="238"/>
                  <a:pt x="273" y="224"/>
                  <a:pt x="256" y="224"/>
                </a:cubicBezTo>
                <a:cubicBezTo>
                  <a:pt x="238" y="224"/>
                  <a:pt x="224" y="238"/>
                  <a:pt x="224" y="256"/>
                </a:cubicBezTo>
                <a:cubicBezTo>
                  <a:pt x="224" y="273"/>
                  <a:pt x="238" y="288"/>
                  <a:pt x="256" y="288"/>
                </a:cubicBezTo>
                <a:cubicBezTo>
                  <a:pt x="273" y="288"/>
                  <a:pt x="288" y="273"/>
                  <a:pt x="288" y="256"/>
                </a:cubicBezTo>
                <a:close/>
                <a:moveTo>
                  <a:pt x="288" y="170"/>
                </a:moveTo>
                <a:cubicBezTo>
                  <a:pt x="288" y="153"/>
                  <a:pt x="273" y="138"/>
                  <a:pt x="256" y="138"/>
                </a:cubicBezTo>
                <a:cubicBezTo>
                  <a:pt x="238" y="138"/>
                  <a:pt x="224" y="153"/>
                  <a:pt x="224" y="170"/>
                </a:cubicBezTo>
                <a:cubicBezTo>
                  <a:pt x="224" y="188"/>
                  <a:pt x="238" y="202"/>
                  <a:pt x="256" y="202"/>
                </a:cubicBezTo>
                <a:cubicBezTo>
                  <a:pt x="273" y="202"/>
                  <a:pt x="288" y="188"/>
                  <a:pt x="288" y="170"/>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 name="Freeform 26"/>
          <p:cNvSpPr>
            <a:spLocks noEditPoints="1"/>
          </p:cNvSpPr>
          <p:nvPr/>
        </p:nvSpPr>
        <p:spPr bwMode="auto">
          <a:xfrm>
            <a:off x="682404" y="2573304"/>
            <a:ext cx="432000" cy="432000"/>
          </a:xfrm>
          <a:custGeom>
            <a:avLst/>
            <a:gdLst>
              <a:gd name="T0" fmla="*/ 94 w 137"/>
              <a:gd name="T1" fmla="*/ 95 h 138"/>
              <a:gd name="T2" fmla="*/ 98 w 137"/>
              <a:gd name="T3" fmla="*/ 83 h 138"/>
              <a:gd name="T4" fmla="*/ 101 w 137"/>
              <a:gd name="T5" fmla="*/ 95 h 138"/>
              <a:gd name="T6" fmla="*/ 106 w 137"/>
              <a:gd name="T7" fmla="*/ 43 h 138"/>
              <a:gd name="T8" fmla="*/ 88 w 137"/>
              <a:gd name="T9" fmla="*/ 95 h 138"/>
              <a:gd name="T10" fmla="*/ 100 w 137"/>
              <a:gd name="T11" fmla="*/ 52 h 138"/>
              <a:gd name="T12" fmla="*/ 94 w 137"/>
              <a:gd name="T13" fmla="*/ 52 h 138"/>
              <a:gd name="T14" fmla="*/ 97 w 137"/>
              <a:gd name="T15" fmla="*/ 60 h 138"/>
              <a:gd name="T16" fmla="*/ 97 w 137"/>
              <a:gd name="T17" fmla="*/ 66 h 138"/>
              <a:gd name="T18" fmla="*/ 97 w 137"/>
              <a:gd name="T19" fmla="*/ 60 h 138"/>
              <a:gd name="T20" fmla="*/ 100 w 137"/>
              <a:gd name="T21" fmla="*/ 75 h 138"/>
              <a:gd name="T22" fmla="*/ 94 w 137"/>
              <a:gd name="T23" fmla="*/ 75 h 138"/>
              <a:gd name="T24" fmla="*/ 68 w 137"/>
              <a:gd name="T25" fmla="*/ 0 h 138"/>
              <a:gd name="T26" fmla="*/ 68 w 137"/>
              <a:gd name="T27" fmla="*/ 138 h 138"/>
              <a:gd name="T28" fmla="*/ 68 w 137"/>
              <a:gd name="T29" fmla="*/ 0 h 138"/>
              <a:gd name="T30" fmla="*/ 108 w 137"/>
              <a:gd name="T31" fmla="*/ 102 h 138"/>
              <a:gd name="T32" fmla="*/ 25 w 137"/>
              <a:gd name="T33" fmla="*/ 98 h 138"/>
              <a:gd name="T34" fmla="*/ 28 w 137"/>
              <a:gd name="T35" fmla="*/ 36 h 138"/>
              <a:gd name="T36" fmla="*/ 49 w 137"/>
              <a:gd name="T37" fmla="*/ 29 h 138"/>
              <a:gd name="T38" fmla="*/ 86 w 137"/>
              <a:gd name="T39" fmla="*/ 26 h 138"/>
              <a:gd name="T40" fmla="*/ 88 w 137"/>
              <a:gd name="T41" fmla="*/ 36 h 138"/>
              <a:gd name="T42" fmla="*/ 112 w 137"/>
              <a:gd name="T43" fmla="*/ 40 h 138"/>
              <a:gd name="T44" fmla="*/ 54 w 137"/>
              <a:gd name="T45" fmla="*/ 95 h 138"/>
              <a:gd name="T46" fmla="*/ 60 w 137"/>
              <a:gd name="T47" fmla="*/ 86 h 138"/>
              <a:gd name="T48" fmla="*/ 65 w 137"/>
              <a:gd name="T49" fmla="*/ 86 h 138"/>
              <a:gd name="T50" fmla="*/ 82 w 137"/>
              <a:gd name="T51" fmla="*/ 95 h 138"/>
              <a:gd name="T52" fmla="*/ 54 w 137"/>
              <a:gd name="T53" fmla="*/ 31 h 138"/>
              <a:gd name="T54" fmla="*/ 74 w 137"/>
              <a:gd name="T55" fmla="*/ 38 h 138"/>
              <a:gd name="T56" fmla="*/ 74 w 137"/>
              <a:gd name="T57" fmla="*/ 43 h 138"/>
              <a:gd name="T58" fmla="*/ 74 w 137"/>
              <a:gd name="T59" fmla="*/ 38 h 138"/>
              <a:gd name="T60" fmla="*/ 77 w 137"/>
              <a:gd name="T61" fmla="*/ 52 h 138"/>
              <a:gd name="T62" fmla="*/ 71 w 137"/>
              <a:gd name="T63" fmla="*/ 52 h 138"/>
              <a:gd name="T64" fmla="*/ 74 w 137"/>
              <a:gd name="T65" fmla="*/ 60 h 138"/>
              <a:gd name="T66" fmla="*/ 74 w 137"/>
              <a:gd name="T67" fmla="*/ 66 h 138"/>
              <a:gd name="T68" fmla="*/ 74 w 137"/>
              <a:gd name="T69" fmla="*/ 60 h 138"/>
              <a:gd name="T70" fmla="*/ 77 w 137"/>
              <a:gd name="T71" fmla="*/ 75 h 138"/>
              <a:gd name="T72" fmla="*/ 71 w 137"/>
              <a:gd name="T73" fmla="*/ 75 h 138"/>
              <a:gd name="T74" fmla="*/ 63 w 137"/>
              <a:gd name="T75" fmla="*/ 38 h 138"/>
              <a:gd name="T76" fmla="*/ 63 w 137"/>
              <a:gd name="T77" fmla="*/ 43 h 138"/>
              <a:gd name="T78" fmla="*/ 63 w 137"/>
              <a:gd name="T79" fmla="*/ 38 h 138"/>
              <a:gd name="T80" fmla="*/ 65 w 137"/>
              <a:gd name="T81" fmla="*/ 52 h 138"/>
              <a:gd name="T82" fmla="*/ 60 w 137"/>
              <a:gd name="T83" fmla="*/ 52 h 138"/>
              <a:gd name="T84" fmla="*/ 63 w 137"/>
              <a:gd name="T85" fmla="*/ 60 h 138"/>
              <a:gd name="T86" fmla="*/ 63 w 137"/>
              <a:gd name="T87" fmla="*/ 66 h 138"/>
              <a:gd name="T88" fmla="*/ 63 w 137"/>
              <a:gd name="T89" fmla="*/ 60 h 138"/>
              <a:gd name="T90" fmla="*/ 65 w 137"/>
              <a:gd name="T91" fmla="*/ 75 h 138"/>
              <a:gd name="T92" fmla="*/ 60 w 137"/>
              <a:gd name="T93" fmla="*/ 75 h 138"/>
              <a:gd name="T94" fmla="*/ 30 w 137"/>
              <a:gd name="T95" fmla="*/ 95 h 138"/>
              <a:gd name="T96" fmla="*/ 36 w 137"/>
              <a:gd name="T97" fmla="*/ 86 h 138"/>
              <a:gd name="T98" fmla="*/ 42 w 137"/>
              <a:gd name="T99" fmla="*/ 86 h 138"/>
              <a:gd name="T100" fmla="*/ 49 w 137"/>
              <a:gd name="T101" fmla="*/ 95 h 138"/>
              <a:gd name="T102" fmla="*/ 30 w 137"/>
              <a:gd name="T103" fmla="*/ 43 h 138"/>
              <a:gd name="T104" fmla="*/ 40 w 137"/>
              <a:gd name="T105" fmla="*/ 49 h 138"/>
              <a:gd name="T106" fmla="*/ 40 w 137"/>
              <a:gd name="T107" fmla="*/ 55 h 138"/>
              <a:gd name="T108" fmla="*/ 40 w 137"/>
              <a:gd name="T109" fmla="*/ 49 h 138"/>
              <a:gd name="T110" fmla="*/ 43 w 137"/>
              <a:gd name="T111" fmla="*/ 63 h 138"/>
              <a:gd name="T112" fmla="*/ 37 w 137"/>
              <a:gd name="T113" fmla="*/ 63 h 138"/>
              <a:gd name="T114" fmla="*/ 40 w 137"/>
              <a:gd name="T115" fmla="*/ 72 h 138"/>
              <a:gd name="T116" fmla="*/ 40 w 137"/>
              <a:gd name="T117" fmla="*/ 78 h 138"/>
              <a:gd name="T118" fmla="*/ 40 w 137"/>
              <a:gd name="T119" fmla="*/ 72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7" h="138">
                <a:moveTo>
                  <a:pt x="88" y="95"/>
                </a:moveTo>
                <a:cubicBezTo>
                  <a:pt x="94" y="95"/>
                  <a:pt x="94" y="95"/>
                  <a:pt x="94" y="95"/>
                </a:cubicBezTo>
                <a:cubicBezTo>
                  <a:pt x="94" y="86"/>
                  <a:pt x="94" y="86"/>
                  <a:pt x="94" y="86"/>
                </a:cubicBezTo>
                <a:cubicBezTo>
                  <a:pt x="94" y="85"/>
                  <a:pt x="96" y="83"/>
                  <a:pt x="98" y="83"/>
                </a:cubicBezTo>
                <a:cubicBezTo>
                  <a:pt x="99" y="83"/>
                  <a:pt x="101" y="85"/>
                  <a:pt x="101" y="86"/>
                </a:cubicBezTo>
                <a:cubicBezTo>
                  <a:pt x="101" y="95"/>
                  <a:pt x="101" y="95"/>
                  <a:pt x="101" y="95"/>
                </a:cubicBezTo>
                <a:cubicBezTo>
                  <a:pt x="106" y="95"/>
                  <a:pt x="106" y="95"/>
                  <a:pt x="106" y="95"/>
                </a:cubicBezTo>
                <a:cubicBezTo>
                  <a:pt x="106" y="43"/>
                  <a:pt x="106" y="43"/>
                  <a:pt x="106" y="43"/>
                </a:cubicBezTo>
                <a:cubicBezTo>
                  <a:pt x="88" y="43"/>
                  <a:pt x="88" y="43"/>
                  <a:pt x="88" y="43"/>
                </a:cubicBezTo>
                <a:lnTo>
                  <a:pt x="88" y="95"/>
                </a:lnTo>
                <a:close/>
                <a:moveTo>
                  <a:pt x="97" y="49"/>
                </a:moveTo>
                <a:cubicBezTo>
                  <a:pt x="99" y="49"/>
                  <a:pt x="100" y="50"/>
                  <a:pt x="100" y="52"/>
                </a:cubicBezTo>
                <a:cubicBezTo>
                  <a:pt x="100" y="53"/>
                  <a:pt x="99" y="55"/>
                  <a:pt x="97" y="55"/>
                </a:cubicBezTo>
                <a:cubicBezTo>
                  <a:pt x="95" y="55"/>
                  <a:pt x="94" y="53"/>
                  <a:pt x="94" y="52"/>
                </a:cubicBezTo>
                <a:cubicBezTo>
                  <a:pt x="94" y="50"/>
                  <a:pt x="95" y="49"/>
                  <a:pt x="97" y="49"/>
                </a:cubicBezTo>
                <a:close/>
                <a:moveTo>
                  <a:pt x="97" y="60"/>
                </a:moveTo>
                <a:cubicBezTo>
                  <a:pt x="99" y="60"/>
                  <a:pt x="100" y="62"/>
                  <a:pt x="100" y="63"/>
                </a:cubicBezTo>
                <a:cubicBezTo>
                  <a:pt x="100" y="65"/>
                  <a:pt x="99" y="66"/>
                  <a:pt x="97" y="66"/>
                </a:cubicBezTo>
                <a:cubicBezTo>
                  <a:pt x="95" y="66"/>
                  <a:pt x="94" y="65"/>
                  <a:pt x="94" y="63"/>
                </a:cubicBezTo>
                <a:cubicBezTo>
                  <a:pt x="94" y="62"/>
                  <a:pt x="95" y="60"/>
                  <a:pt x="97" y="60"/>
                </a:cubicBezTo>
                <a:close/>
                <a:moveTo>
                  <a:pt x="97" y="72"/>
                </a:moveTo>
                <a:cubicBezTo>
                  <a:pt x="99" y="72"/>
                  <a:pt x="100" y="73"/>
                  <a:pt x="100" y="75"/>
                </a:cubicBezTo>
                <a:cubicBezTo>
                  <a:pt x="100" y="76"/>
                  <a:pt x="99" y="78"/>
                  <a:pt x="97" y="78"/>
                </a:cubicBezTo>
                <a:cubicBezTo>
                  <a:pt x="95" y="78"/>
                  <a:pt x="94" y="76"/>
                  <a:pt x="94" y="75"/>
                </a:cubicBezTo>
                <a:cubicBezTo>
                  <a:pt x="94" y="73"/>
                  <a:pt x="95" y="72"/>
                  <a:pt x="97" y="72"/>
                </a:cubicBezTo>
                <a:close/>
                <a:moveTo>
                  <a:pt x="68" y="0"/>
                </a:moveTo>
                <a:cubicBezTo>
                  <a:pt x="30" y="0"/>
                  <a:pt x="0" y="31"/>
                  <a:pt x="0" y="69"/>
                </a:cubicBezTo>
                <a:cubicBezTo>
                  <a:pt x="0" y="107"/>
                  <a:pt x="30" y="138"/>
                  <a:pt x="68" y="138"/>
                </a:cubicBezTo>
                <a:cubicBezTo>
                  <a:pt x="106" y="138"/>
                  <a:pt x="137" y="107"/>
                  <a:pt x="137" y="69"/>
                </a:cubicBezTo>
                <a:cubicBezTo>
                  <a:pt x="137" y="31"/>
                  <a:pt x="106" y="0"/>
                  <a:pt x="68" y="0"/>
                </a:cubicBezTo>
                <a:close/>
                <a:moveTo>
                  <a:pt x="112" y="98"/>
                </a:moveTo>
                <a:cubicBezTo>
                  <a:pt x="112" y="99"/>
                  <a:pt x="110" y="102"/>
                  <a:pt x="108" y="102"/>
                </a:cubicBezTo>
                <a:cubicBezTo>
                  <a:pt x="28" y="102"/>
                  <a:pt x="28" y="102"/>
                  <a:pt x="28" y="102"/>
                </a:cubicBezTo>
                <a:cubicBezTo>
                  <a:pt x="27" y="102"/>
                  <a:pt x="25" y="99"/>
                  <a:pt x="25" y="98"/>
                </a:cubicBezTo>
                <a:cubicBezTo>
                  <a:pt x="25" y="40"/>
                  <a:pt x="25" y="40"/>
                  <a:pt x="25" y="40"/>
                </a:cubicBezTo>
                <a:cubicBezTo>
                  <a:pt x="25" y="39"/>
                  <a:pt x="27" y="36"/>
                  <a:pt x="28" y="36"/>
                </a:cubicBezTo>
                <a:cubicBezTo>
                  <a:pt x="49" y="36"/>
                  <a:pt x="49" y="36"/>
                  <a:pt x="49" y="36"/>
                </a:cubicBezTo>
                <a:cubicBezTo>
                  <a:pt x="49" y="29"/>
                  <a:pt x="49" y="29"/>
                  <a:pt x="49" y="29"/>
                </a:cubicBezTo>
                <a:cubicBezTo>
                  <a:pt x="49" y="27"/>
                  <a:pt x="50" y="26"/>
                  <a:pt x="51" y="26"/>
                </a:cubicBezTo>
                <a:cubicBezTo>
                  <a:pt x="86" y="26"/>
                  <a:pt x="86" y="26"/>
                  <a:pt x="86" y="26"/>
                </a:cubicBezTo>
                <a:cubicBezTo>
                  <a:pt x="87" y="26"/>
                  <a:pt x="88" y="27"/>
                  <a:pt x="88" y="29"/>
                </a:cubicBezTo>
                <a:cubicBezTo>
                  <a:pt x="88" y="36"/>
                  <a:pt x="88" y="36"/>
                  <a:pt x="88" y="36"/>
                </a:cubicBezTo>
                <a:cubicBezTo>
                  <a:pt x="108" y="36"/>
                  <a:pt x="108" y="36"/>
                  <a:pt x="108" y="36"/>
                </a:cubicBezTo>
                <a:cubicBezTo>
                  <a:pt x="110" y="36"/>
                  <a:pt x="112" y="39"/>
                  <a:pt x="112" y="40"/>
                </a:cubicBezTo>
                <a:lnTo>
                  <a:pt x="112" y="98"/>
                </a:lnTo>
                <a:close/>
                <a:moveTo>
                  <a:pt x="54" y="95"/>
                </a:moveTo>
                <a:cubicBezTo>
                  <a:pt x="60" y="95"/>
                  <a:pt x="60" y="95"/>
                  <a:pt x="60" y="95"/>
                </a:cubicBezTo>
                <a:cubicBezTo>
                  <a:pt x="60" y="86"/>
                  <a:pt x="60" y="86"/>
                  <a:pt x="60" y="86"/>
                </a:cubicBezTo>
                <a:cubicBezTo>
                  <a:pt x="60" y="85"/>
                  <a:pt x="61" y="83"/>
                  <a:pt x="62" y="83"/>
                </a:cubicBezTo>
                <a:cubicBezTo>
                  <a:pt x="64" y="83"/>
                  <a:pt x="65" y="85"/>
                  <a:pt x="65" y="86"/>
                </a:cubicBezTo>
                <a:cubicBezTo>
                  <a:pt x="65" y="95"/>
                  <a:pt x="65" y="95"/>
                  <a:pt x="65" y="95"/>
                </a:cubicBezTo>
                <a:cubicBezTo>
                  <a:pt x="82" y="95"/>
                  <a:pt x="82" y="95"/>
                  <a:pt x="82" y="95"/>
                </a:cubicBezTo>
                <a:cubicBezTo>
                  <a:pt x="82" y="31"/>
                  <a:pt x="82" y="31"/>
                  <a:pt x="82" y="31"/>
                </a:cubicBezTo>
                <a:cubicBezTo>
                  <a:pt x="54" y="31"/>
                  <a:pt x="54" y="31"/>
                  <a:pt x="54" y="31"/>
                </a:cubicBezTo>
                <a:lnTo>
                  <a:pt x="54" y="95"/>
                </a:lnTo>
                <a:close/>
                <a:moveTo>
                  <a:pt x="74" y="38"/>
                </a:moveTo>
                <a:cubicBezTo>
                  <a:pt x="76" y="38"/>
                  <a:pt x="77" y="39"/>
                  <a:pt x="77" y="40"/>
                </a:cubicBezTo>
                <a:cubicBezTo>
                  <a:pt x="77" y="42"/>
                  <a:pt x="76" y="43"/>
                  <a:pt x="74" y="43"/>
                </a:cubicBezTo>
                <a:cubicBezTo>
                  <a:pt x="72" y="43"/>
                  <a:pt x="71" y="42"/>
                  <a:pt x="71" y="40"/>
                </a:cubicBezTo>
                <a:cubicBezTo>
                  <a:pt x="71" y="39"/>
                  <a:pt x="72" y="38"/>
                  <a:pt x="74" y="38"/>
                </a:cubicBezTo>
                <a:close/>
                <a:moveTo>
                  <a:pt x="74" y="49"/>
                </a:moveTo>
                <a:cubicBezTo>
                  <a:pt x="76" y="49"/>
                  <a:pt x="77" y="50"/>
                  <a:pt x="77" y="52"/>
                </a:cubicBezTo>
                <a:cubicBezTo>
                  <a:pt x="77" y="53"/>
                  <a:pt x="76" y="55"/>
                  <a:pt x="74" y="55"/>
                </a:cubicBezTo>
                <a:cubicBezTo>
                  <a:pt x="72" y="55"/>
                  <a:pt x="71" y="53"/>
                  <a:pt x="71" y="52"/>
                </a:cubicBezTo>
                <a:cubicBezTo>
                  <a:pt x="71" y="50"/>
                  <a:pt x="72" y="49"/>
                  <a:pt x="74" y="49"/>
                </a:cubicBezTo>
                <a:close/>
                <a:moveTo>
                  <a:pt x="74" y="60"/>
                </a:moveTo>
                <a:cubicBezTo>
                  <a:pt x="76" y="60"/>
                  <a:pt x="77" y="62"/>
                  <a:pt x="77" y="63"/>
                </a:cubicBezTo>
                <a:cubicBezTo>
                  <a:pt x="77" y="65"/>
                  <a:pt x="76" y="66"/>
                  <a:pt x="74" y="66"/>
                </a:cubicBezTo>
                <a:cubicBezTo>
                  <a:pt x="72" y="66"/>
                  <a:pt x="71" y="65"/>
                  <a:pt x="71" y="63"/>
                </a:cubicBezTo>
                <a:cubicBezTo>
                  <a:pt x="71" y="62"/>
                  <a:pt x="72" y="60"/>
                  <a:pt x="74" y="60"/>
                </a:cubicBezTo>
                <a:close/>
                <a:moveTo>
                  <a:pt x="74" y="72"/>
                </a:moveTo>
                <a:cubicBezTo>
                  <a:pt x="76" y="72"/>
                  <a:pt x="77" y="73"/>
                  <a:pt x="77" y="75"/>
                </a:cubicBezTo>
                <a:cubicBezTo>
                  <a:pt x="77" y="76"/>
                  <a:pt x="76" y="78"/>
                  <a:pt x="74" y="78"/>
                </a:cubicBezTo>
                <a:cubicBezTo>
                  <a:pt x="72" y="78"/>
                  <a:pt x="71" y="76"/>
                  <a:pt x="71" y="75"/>
                </a:cubicBezTo>
                <a:cubicBezTo>
                  <a:pt x="71" y="73"/>
                  <a:pt x="72" y="72"/>
                  <a:pt x="74" y="72"/>
                </a:cubicBezTo>
                <a:close/>
                <a:moveTo>
                  <a:pt x="63" y="38"/>
                </a:moveTo>
                <a:cubicBezTo>
                  <a:pt x="64" y="38"/>
                  <a:pt x="65" y="39"/>
                  <a:pt x="65" y="40"/>
                </a:cubicBezTo>
                <a:cubicBezTo>
                  <a:pt x="65" y="42"/>
                  <a:pt x="64" y="43"/>
                  <a:pt x="63" y="43"/>
                </a:cubicBezTo>
                <a:cubicBezTo>
                  <a:pt x="61" y="43"/>
                  <a:pt x="60" y="42"/>
                  <a:pt x="60" y="40"/>
                </a:cubicBezTo>
                <a:cubicBezTo>
                  <a:pt x="60" y="39"/>
                  <a:pt x="61" y="38"/>
                  <a:pt x="63" y="38"/>
                </a:cubicBezTo>
                <a:close/>
                <a:moveTo>
                  <a:pt x="63" y="49"/>
                </a:moveTo>
                <a:cubicBezTo>
                  <a:pt x="64" y="49"/>
                  <a:pt x="65" y="50"/>
                  <a:pt x="65" y="52"/>
                </a:cubicBezTo>
                <a:cubicBezTo>
                  <a:pt x="65" y="53"/>
                  <a:pt x="64" y="55"/>
                  <a:pt x="63" y="55"/>
                </a:cubicBezTo>
                <a:cubicBezTo>
                  <a:pt x="61" y="55"/>
                  <a:pt x="60" y="53"/>
                  <a:pt x="60" y="52"/>
                </a:cubicBezTo>
                <a:cubicBezTo>
                  <a:pt x="60" y="50"/>
                  <a:pt x="61" y="49"/>
                  <a:pt x="63" y="49"/>
                </a:cubicBezTo>
                <a:close/>
                <a:moveTo>
                  <a:pt x="63" y="60"/>
                </a:moveTo>
                <a:cubicBezTo>
                  <a:pt x="64" y="60"/>
                  <a:pt x="65" y="62"/>
                  <a:pt x="65" y="63"/>
                </a:cubicBezTo>
                <a:cubicBezTo>
                  <a:pt x="65" y="65"/>
                  <a:pt x="64" y="66"/>
                  <a:pt x="63" y="66"/>
                </a:cubicBezTo>
                <a:cubicBezTo>
                  <a:pt x="61" y="66"/>
                  <a:pt x="60" y="65"/>
                  <a:pt x="60" y="63"/>
                </a:cubicBezTo>
                <a:cubicBezTo>
                  <a:pt x="60" y="62"/>
                  <a:pt x="61" y="60"/>
                  <a:pt x="63" y="60"/>
                </a:cubicBezTo>
                <a:close/>
                <a:moveTo>
                  <a:pt x="63" y="72"/>
                </a:moveTo>
                <a:cubicBezTo>
                  <a:pt x="64" y="72"/>
                  <a:pt x="65" y="73"/>
                  <a:pt x="65" y="75"/>
                </a:cubicBezTo>
                <a:cubicBezTo>
                  <a:pt x="65" y="76"/>
                  <a:pt x="64" y="78"/>
                  <a:pt x="63" y="78"/>
                </a:cubicBezTo>
                <a:cubicBezTo>
                  <a:pt x="61" y="78"/>
                  <a:pt x="60" y="76"/>
                  <a:pt x="60" y="75"/>
                </a:cubicBezTo>
                <a:cubicBezTo>
                  <a:pt x="60" y="73"/>
                  <a:pt x="61" y="72"/>
                  <a:pt x="63" y="72"/>
                </a:cubicBezTo>
                <a:close/>
                <a:moveTo>
                  <a:pt x="30" y="95"/>
                </a:moveTo>
                <a:cubicBezTo>
                  <a:pt x="36" y="95"/>
                  <a:pt x="36" y="95"/>
                  <a:pt x="36" y="95"/>
                </a:cubicBezTo>
                <a:cubicBezTo>
                  <a:pt x="36" y="86"/>
                  <a:pt x="36" y="86"/>
                  <a:pt x="36" y="86"/>
                </a:cubicBezTo>
                <a:cubicBezTo>
                  <a:pt x="36" y="85"/>
                  <a:pt x="37" y="83"/>
                  <a:pt x="39" y="83"/>
                </a:cubicBezTo>
                <a:cubicBezTo>
                  <a:pt x="41" y="83"/>
                  <a:pt x="42" y="85"/>
                  <a:pt x="42" y="86"/>
                </a:cubicBezTo>
                <a:cubicBezTo>
                  <a:pt x="42" y="95"/>
                  <a:pt x="42" y="95"/>
                  <a:pt x="42" y="95"/>
                </a:cubicBezTo>
                <a:cubicBezTo>
                  <a:pt x="49" y="95"/>
                  <a:pt x="49" y="95"/>
                  <a:pt x="49" y="95"/>
                </a:cubicBezTo>
                <a:cubicBezTo>
                  <a:pt x="49" y="43"/>
                  <a:pt x="49" y="43"/>
                  <a:pt x="49" y="43"/>
                </a:cubicBezTo>
                <a:cubicBezTo>
                  <a:pt x="30" y="43"/>
                  <a:pt x="30" y="43"/>
                  <a:pt x="30" y="43"/>
                </a:cubicBezTo>
                <a:lnTo>
                  <a:pt x="30" y="95"/>
                </a:lnTo>
                <a:close/>
                <a:moveTo>
                  <a:pt x="40" y="49"/>
                </a:moveTo>
                <a:cubicBezTo>
                  <a:pt x="41" y="49"/>
                  <a:pt x="43" y="50"/>
                  <a:pt x="43" y="52"/>
                </a:cubicBezTo>
                <a:cubicBezTo>
                  <a:pt x="43" y="53"/>
                  <a:pt x="41" y="55"/>
                  <a:pt x="40" y="55"/>
                </a:cubicBezTo>
                <a:cubicBezTo>
                  <a:pt x="38" y="55"/>
                  <a:pt x="37" y="53"/>
                  <a:pt x="37" y="52"/>
                </a:cubicBezTo>
                <a:cubicBezTo>
                  <a:pt x="37" y="50"/>
                  <a:pt x="38" y="49"/>
                  <a:pt x="40" y="49"/>
                </a:cubicBezTo>
                <a:close/>
                <a:moveTo>
                  <a:pt x="40" y="60"/>
                </a:moveTo>
                <a:cubicBezTo>
                  <a:pt x="41" y="60"/>
                  <a:pt x="43" y="62"/>
                  <a:pt x="43" y="63"/>
                </a:cubicBezTo>
                <a:cubicBezTo>
                  <a:pt x="43" y="65"/>
                  <a:pt x="41" y="66"/>
                  <a:pt x="40" y="66"/>
                </a:cubicBezTo>
                <a:cubicBezTo>
                  <a:pt x="38" y="66"/>
                  <a:pt x="37" y="65"/>
                  <a:pt x="37" y="63"/>
                </a:cubicBezTo>
                <a:cubicBezTo>
                  <a:pt x="37" y="62"/>
                  <a:pt x="38" y="60"/>
                  <a:pt x="40" y="60"/>
                </a:cubicBezTo>
                <a:close/>
                <a:moveTo>
                  <a:pt x="40" y="72"/>
                </a:moveTo>
                <a:cubicBezTo>
                  <a:pt x="41" y="72"/>
                  <a:pt x="43" y="73"/>
                  <a:pt x="43" y="75"/>
                </a:cubicBezTo>
                <a:cubicBezTo>
                  <a:pt x="43" y="76"/>
                  <a:pt x="41" y="78"/>
                  <a:pt x="40" y="78"/>
                </a:cubicBezTo>
                <a:cubicBezTo>
                  <a:pt x="38" y="78"/>
                  <a:pt x="37" y="76"/>
                  <a:pt x="37" y="75"/>
                </a:cubicBezTo>
                <a:cubicBezTo>
                  <a:pt x="37" y="73"/>
                  <a:pt x="38" y="72"/>
                  <a:pt x="40" y="7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
        <p:nvSpPr>
          <p:cNvPr id="10" name="Freeform 338"/>
          <p:cNvSpPr>
            <a:spLocks noChangeAspect="1" noEditPoints="1"/>
          </p:cNvSpPr>
          <p:nvPr/>
        </p:nvSpPr>
        <p:spPr bwMode="auto">
          <a:xfrm>
            <a:off x="682404" y="3602676"/>
            <a:ext cx="432000" cy="432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52 w 512"/>
              <a:gd name="T11" fmla="*/ 384 h 512"/>
              <a:gd name="T12" fmla="*/ 341 w 512"/>
              <a:gd name="T13" fmla="*/ 394 h 512"/>
              <a:gd name="T14" fmla="*/ 330 w 512"/>
              <a:gd name="T15" fmla="*/ 384 h 512"/>
              <a:gd name="T16" fmla="*/ 330 w 512"/>
              <a:gd name="T17" fmla="*/ 359 h 512"/>
              <a:gd name="T18" fmla="*/ 256 w 512"/>
              <a:gd name="T19" fmla="*/ 384 h 512"/>
              <a:gd name="T20" fmla="*/ 128 w 512"/>
              <a:gd name="T21" fmla="*/ 256 h 512"/>
              <a:gd name="T22" fmla="*/ 138 w 512"/>
              <a:gd name="T23" fmla="*/ 245 h 512"/>
              <a:gd name="T24" fmla="*/ 149 w 512"/>
              <a:gd name="T25" fmla="*/ 256 h 512"/>
              <a:gd name="T26" fmla="*/ 256 w 512"/>
              <a:gd name="T27" fmla="*/ 362 h 512"/>
              <a:gd name="T28" fmla="*/ 320 w 512"/>
              <a:gd name="T29" fmla="*/ 341 h 512"/>
              <a:gd name="T30" fmla="*/ 288 w 512"/>
              <a:gd name="T31" fmla="*/ 341 h 512"/>
              <a:gd name="T32" fmla="*/ 277 w 512"/>
              <a:gd name="T33" fmla="*/ 330 h 512"/>
              <a:gd name="T34" fmla="*/ 288 w 512"/>
              <a:gd name="T35" fmla="*/ 320 h 512"/>
              <a:gd name="T36" fmla="*/ 341 w 512"/>
              <a:gd name="T37" fmla="*/ 320 h 512"/>
              <a:gd name="T38" fmla="*/ 352 w 512"/>
              <a:gd name="T39" fmla="*/ 330 h 512"/>
              <a:gd name="T40" fmla="*/ 352 w 512"/>
              <a:gd name="T41" fmla="*/ 384 h 512"/>
              <a:gd name="T42" fmla="*/ 205 w 512"/>
              <a:gd name="T43" fmla="*/ 248 h 512"/>
              <a:gd name="T44" fmla="*/ 221 w 512"/>
              <a:gd name="T45" fmla="*/ 248 h 512"/>
              <a:gd name="T46" fmla="*/ 245 w 512"/>
              <a:gd name="T47" fmla="*/ 273 h 512"/>
              <a:gd name="T48" fmla="*/ 301 w 512"/>
              <a:gd name="T49" fmla="*/ 216 h 512"/>
              <a:gd name="T50" fmla="*/ 317 w 512"/>
              <a:gd name="T51" fmla="*/ 216 h 512"/>
              <a:gd name="T52" fmla="*/ 317 w 512"/>
              <a:gd name="T53" fmla="*/ 231 h 512"/>
              <a:gd name="T54" fmla="*/ 253 w 512"/>
              <a:gd name="T55" fmla="*/ 295 h 512"/>
              <a:gd name="T56" fmla="*/ 245 w 512"/>
              <a:gd name="T57" fmla="*/ 298 h 512"/>
              <a:gd name="T58" fmla="*/ 237 w 512"/>
              <a:gd name="T59" fmla="*/ 295 h 512"/>
              <a:gd name="T60" fmla="*/ 205 w 512"/>
              <a:gd name="T61" fmla="*/ 263 h 512"/>
              <a:gd name="T62" fmla="*/ 205 w 512"/>
              <a:gd name="T63" fmla="*/ 248 h 512"/>
              <a:gd name="T64" fmla="*/ 373 w 512"/>
              <a:gd name="T65" fmla="*/ 266 h 512"/>
              <a:gd name="T66" fmla="*/ 362 w 512"/>
              <a:gd name="T67" fmla="*/ 256 h 512"/>
              <a:gd name="T68" fmla="*/ 256 w 512"/>
              <a:gd name="T69" fmla="*/ 149 h 512"/>
              <a:gd name="T70" fmla="*/ 192 w 512"/>
              <a:gd name="T71" fmla="*/ 170 h 512"/>
              <a:gd name="T72" fmla="*/ 224 w 512"/>
              <a:gd name="T73" fmla="*/ 170 h 512"/>
              <a:gd name="T74" fmla="*/ 234 w 512"/>
              <a:gd name="T75" fmla="*/ 181 h 512"/>
              <a:gd name="T76" fmla="*/ 224 w 512"/>
              <a:gd name="T77" fmla="*/ 192 h 512"/>
              <a:gd name="T78" fmla="*/ 170 w 512"/>
              <a:gd name="T79" fmla="*/ 192 h 512"/>
              <a:gd name="T80" fmla="*/ 160 w 512"/>
              <a:gd name="T81" fmla="*/ 181 h 512"/>
              <a:gd name="T82" fmla="*/ 160 w 512"/>
              <a:gd name="T83" fmla="*/ 128 h 512"/>
              <a:gd name="T84" fmla="*/ 170 w 512"/>
              <a:gd name="T85" fmla="*/ 117 h 512"/>
              <a:gd name="T86" fmla="*/ 181 w 512"/>
              <a:gd name="T87" fmla="*/ 128 h 512"/>
              <a:gd name="T88" fmla="*/ 181 w 512"/>
              <a:gd name="T89" fmla="*/ 152 h 512"/>
              <a:gd name="T90" fmla="*/ 256 w 512"/>
              <a:gd name="T91" fmla="*/ 128 h 512"/>
              <a:gd name="T92" fmla="*/ 384 w 512"/>
              <a:gd name="T93" fmla="*/ 256 h 512"/>
              <a:gd name="T94" fmla="*/ 373 w 512"/>
              <a:gd name="T95"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52" y="384"/>
                </a:moveTo>
                <a:cubicBezTo>
                  <a:pt x="352" y="390"/>
                  <a:pt x="347" y="394"/>
                  <a:pt x="341" y="394"/>
                </a:cubicBezTo>
                <a:cubicBezTo>
                  <a:pt x="335" y="394"/>
                  <a:pt x="330" y="390"/>
                  <a:pt x="330" y="384"/>
                </a:cubicBezTo>
                <a:cubicBezTo>
                  <a:pt x="330" y="359"/>
                  <a:pt x="330" y="359"/>
                  <a:pt x="330" y="359"/>
                </a:cubicBezTo>
                <a:cubicBezTo>
                  <a:pt x="309" y="375"/>
                  <a:pt x="283" y="384"/>
                  <a:pt x="256" y="384"/>
                </a:cubicBezTo>
                <a:cubicBezTo>
                  <a:pt x="185" y="384"/>
                  <a:pt x="128" y="326"/>
                  <a:pt x="128" y="256"/>
                </a:cubicBezTo>
                <a:cubicBezTo>
                  <a:pt x="128" y="250"/>
                  <a:pt x="132" y="245"/>
                  <a:pt x="138" y="245"/>
                </a:cubicBezTo>
                <a:cubicBezTo>
                  <a:pt x="144" y="245"/>
                  <a:pt x="149" y="250"/>
                  <a:pt x="149" y="256"/>
                </a:cubicBezTo>
                <a:cubicBezTo>
                  <a:pt x="149" y="314"/>
                  <a:pt x="197" y="362"/>
                  <a:pt x="256" y="362"/>
                </a:cubicBezTo>
                <a:cubicBezTo>
                  <a:pt x="279" y="362"/>
                  <a:pt x="301" y="355"/>
                  <a:pt x="320" y="341"/>
                </a:cubicBezTo>
                <a:cubicBezTo>
                  <a:pt x="288" y="341"/>
                  <a:pt x="288" y="341"/>
                  <a:pt x="288" y="341"/>
                </a:cubicBezTo>
                <a:cubicBezTo>
                  <a:pt x="282" y="341"/>
                  <a:pt x="277" y="336"/>
                  <a:pt x="277" y="330"/>
                </a:cubicBezTo>
                <a:cubicBezTo>
                  <a:pt x="277" y="324"/>
                  <a:pt x="282" y="320"/>
                  <a:pt x="288" y="320"/>
                </a:cubicBezTo>
                <a:cubicBezTo>
                  <a:pt x="341" y="320"/>
                  <a:pt x="341" y="320"/>
                  <a:pt x="341" y="320"/>
                </a:cubicBezTo>
                <a:cubicBezTo>
                  <a:pt x="347" y="320"/>
                  <a:pt x="352" y="324"/>
                  <a:pt x="352" y="330"/>
                </a:cubicBezTo>
                <a:lnTo>
                  <a:pt x="352" y="384"/>
                </a:lnTo>
                <a:close/>
                <a:moveTo>
                  <a:pt x="205" y="248"/>
                </a:moveTo>
                <a:cubicBezTo>
                  <a:pt x="210" y="244"/>
                  <a:pt x="216" y="244"/>
                  <a:pt x="221" y="248"/>
                </a:cubicBezTo>
                <a:cubicBezTo>
                  <a:pt x="245" y="273"/>
                  <a:pt x="245" y="273"/>
                  <a:pt x="245" y="273"/>
                </a:cubicBezTo>
                <a:cubicBezTo>
                  <a:pt x="301" y="216"/>
                  <a:pt x="301" y="216"/>
                  <a:pt x="301" y="216"/>
                </a:cubicBezTo>
                <a:cubicBezTo>
                  <a:pt x="306" y="212"/>
                  <a:pt x="312" y="212"/>
                  <a:pt x="317" y="216"/>
                </a:cubicBezTo>
                <a:cubicBezTo>
                  <a:pt x="321" y="220"/>
                  <a:pt x="321" y="227"/>
                  <a:pt x="317" y="231"/>
                </a:cubicBezTo>
                <a:cubicBezTo>
                  <a:pt x="253" y="295"/>
                  <a:pt x="253" y="295"/>
                  <a:pt x="253" y="295"/>
                </a:cubicBezTo>
                <a:cubicBezTo>
                  <a:pt x="250" y="297"/>
                  <a:pt x="248" y="298"/>
                  <a:pt x="245" y="298"/>
                </a:cubicBezTo>
                <a:cubicBezTo>
                  <a:pt x="242" y="298"/>
                  <a:pt x="240" y="297"/>
                  <a:pt x="237" y="295"/>
                </a:cubicBezTo>
                <a:cubicBezTo>
                  <a:pt x="205" y="263"/>
                  <a:pt x="205" y="263"/>
                  <a:pt x="205" y="263"/>
                </a:cubicBezTo>
                <a:cubicBezTo>
                  <a:pt x="201" y="259"/>
                  <a:pt x="201" y="252"/>
                  <a:pt x="205" y="248"/>
                </a:cubicBezTo>
                <a:close/>
                <a:moveTo>
                  <a:pt x="373" y="266"/>
                </a:moveTo>
                <a:cubicBezTo>
                  <a:pt x="367" y="266"/>
                  <a:pt x="362" y="262"/>
                  <a:pt x="362" y="256"/>
                </a:cubicBezTo>
                <a:cubicBezTo>
                  <a:pt x="362" y="197"/>
                  <a:pt x="314" y="149"/>
                  <a:pt x="256" y="149"/>
                </a:cubicBezTo>
                <a:cubicBezTo>
                  <a:pt x="232" y="149"/>
                  <a:pt x="210" y="157"/>
                  <a:pt x="192" y="170"/>
                </a:cubicBezTo>
                <a:cubicBezTo>
                  <a:pt x="224" y="170"/>
                  <a:pt x="224" y="170"/>
                  <a:pt x="224" y="170"/>
                </a:cubicBezTo>
                <a:cubicBezTo>
                  <a:pt x="230" y="170"/>
                  <a:pt x="234" y="175"/>
                  <a:pt x="234" y="181"/>
                </a:cubicBezTo>
                <a:cubicBezTo>
                  <a:pt x="234" y="187"/>
                  <a:pt x="230" y="192"/>
                  <a:pt x="224" y="192"/>
                </a:cubicBezTo>
                <a:cubicBezTo>
                  <a:pt x="170" y="192"/>
                  <a:pt x="170" y="192"/>
                  <a:pt x="170" y="192"/>
                </a:cubicBezTo>
                <a:cubicBezTo>
                  <a:pt x="164" y="192"/>
                  <a:pt x="160" y="187"/>
                  <a:pt x="160" y="181"/>
                </a:cubicBezTo>
                <a:cubicBezTo>
                  <a:pt x="160" y="128"/>
                  <a:pt x="160" y="128"/>
                  <a:pt x="160" y="128"/>
                </a:cubicBezTo>
                <a:cubicBezTo>
                  <a:pt x="160" y="122"/>
                  <a:pt x="164" y="117"/>
                  <a:pt x="170" y="117"/>
                </a:cubicBezTo>
                <a:cubicBezTo>
                  <a:pt x="176" y="117"/>
                  <a:pt x="181" y="122"/>
                  <a:pt x="181" y="128"/>
                </a:cubicBezTo>
                <a:cubicBezTo>
                  <a:pt x="181" y="152"/>
                  <a:pt x="181" y="152"/>
                  <a:pt x="181" y="152"/>
                </a:cubicBezTo>
                <a:cubicBezTo>
                  <a:pt x="203" y="136"/>
                  <a:pt x="229" y="128"/>
                  <a:pt x="256" y="128"/>
                </a:cubicBezTo>
                <a:cubicBezTo>
                  <a:pt x="326" y="128"/>
                  <a:pt x="384" y="185"/>
                  <a:pt x="384" y="256"/>
                </a:cubicBezTo>
                <a:cubicBezTo>
                  <a:pt x="384" y="262"/>
                  <a:pt x="379" y="266"/>
                  <a:pt x="373" y="266"/>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79662713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urther information</a:t>
            </a:r>
            <a:endParaRPr lang="en-GB" dirty="0"/>
          </a:p>
        </p:txBody>
      </p:sp>
      <p:sp>
        <p:nvSpPr>
          <p:cNvPr id="22" name="Footer Placeholder 21"/>
          <p:cNvSpPr>
            <a:spLocks noGrp="1"/>
          </p:cNvSpPr>
          <p:nvPr>
            <p:ph type="ftr" sz="quarter" idx="4294967295"/>
          </p:nvPr>
        </p:nvSpPr>
        <p:spPr/>
        <p:txBody>
          <a:bodyPr/>
          <a:lstStyle/>
          <a:p>
            <a:pPr algn="l"/>
            <a:r>
              <a:rPr lang="en-GB" dirty="0" smtClean="0">
                <a:latin typeface="Verdana"/>
                <a:cs typeface="+mn-cs"/>
              </a:rPr>
              <a:t>University of Cambridge – Department Assurance Survey 2017/18			          © 2018 Deloitte LLP. Private and confidential.</a:t>
            </a:r>
            <a:endParaRPr lang="en-GB" dirty="0">
              <a:latin typeface="Verdana"/>
              <a:cs typeface="+mn-cs"/>
            </a:endParaRPr>
          </a:p>
        </p:txBody>
      </p:sp>
    </p:spTree>
    <p:extLst>
      <p:ext uri="{BB962C8B-B14F-4D97-AF65-F5344CB8AC3E}">
        <p14:creationId xmlns:p14="http://schemas.microsoft.com/office/powerpoint/2010/main" val="999557528"/>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smtClean="0"/>
              <a:t>Timeline of Survey Preparation and Analysis</a:t>
            </a:r>
            <a:endParaRPr lang="en-GB" dirty="0"/>
          </a:p>
        </p:txBody>
      </p:sp>
      <p:sp>
        <p:nvSpPr>
          <p:cNvPr id="6" name="Text Placeholder 5"/>
          <p:cNvSpPr>
            <a:spLocks noGrp="1"/>
          </p:cNvSpPr>
          <p:nvPr>
            <p:ph type="body" sz="quarter" idx="13"/>
          </p:nvPr>
        </p:nvSpPr>
        <p:spPr/>
        <p:txBody>
          <a:bodyPr/>
          <a:lstStyle/>
          <a:p>
            <a:r>
              <a:rPr lang="en-GB" sz="1700" dirty="0"/>
              <a:t>Timescales for delivery of the Departmental Assurance Survey and results</a:t>
            </a:r>
          </a:p>
          <a:p>
            <a:endParaRPr lang="en-GB" dirty="0"/>
          </a:p>
        </p:txBody>
      </p:sp>
      <p:sp>
        <p:nvSpPr>
          <p:cNvPr id="5" name="Content Placeholder 4"/>
          <p:cNvSpPr>
            <a:spLocks noGrp="1"/>
          </p:cNvSpPr>
          <p:nvPr>
            <p:ph idx="1"/>
          </p:nvPr>
        </p:nvSpPr>
        <p:spPr>
          <a:xfrm>
            <a:off x="376238" y="1127045"/>
            <a:ext cx="8374062" cy="792821"/>
          </a:xfrm>
        </p:spPr>
        <p:txBody>
          <a:bodyPr/>
          <a:lstStyle/>
          <a:p>
            <a:r>
              <a:rPr lang="en-GB" sz="1100" dirty="0"/>
              <a:t>In the below diagram, we have outlined the timetable for preparation, completion, and analysis of the Department Assurance survey. </a:t>
            </a:r>
            <a:r>
              <a:rPr lang="en-GB" sz="1100" dirty="0" smtClean="0"/>
              <a:t>We </a:t>
            </a:r>
            <a:r>
              <a:rPr lang="en-GB" sz="1100" dirty="0"/>
              <a:t>have also included the final next steps for conclusion of our work. </a:t>
            </a:r>
            <a:r>
              <a:rPr lang="en-GB" sz="1100" dirty="0" smtClean="0"/>
              <a:t>Following </a:t>
            </a:r>
            <a:r>
              <a:rPr lang="en-GB" sz="1100" dirty="0"/>
              <a:t>issuance of the </a:t>
            </a:r>
            <a:r>
              <a:rPr lang="en-GB" sz="1100" dirty="0" smtClean="0"/>
              <a:t>2017/18 </a:t>
            </a:r>
            <a:r>
              <a:rPr lang="en-GB" sz="1100" dirty="0"/>
              <a:t>report, we plan to further refine the survey based on feedback received. </a:t>
            </a:r>
            <a:r>
              <a:rPr lang="en-GB" sz="1100" dirty="0" smtClean="0"/>
              <a:t>Following </a:t>
            </a:r>
            <a:r>
              <a:rPr lang="en-GB" sz="1100" dirty="0"/>
              <a:t>refinement, the </a:t>
            </a:r>
            <a:r>
              <a:rPr lang="en-GB" sz="1100" dirty="0" smtClean="0"/>
              <a:t>2018/19 </a:t>
            </a:r>
            <a:r>
              <a:rPr lang="en-GB" sz="1100" dirty="0"/>
              <a:t>survey will be distributed to all Departments in November </a:t>
            </a:r>
            <a:r>
              <a:rPr lang="en-GB" sz="1100" dirty="0" smtClean="0"/>
              <a:t>2018. </a:t>
            </a:r>
            <a:endParaRPr lang="en-GB" sz="1100" dirty="0"/>
          </a:p>
        </p:txBody>
      </p:sp>
      <p:graphicFrame>
        <p:nvGraphicFramePr>
          <p:cNvPr id="7" name="Table 6"/>
          <p:cNvGraphicFramePr>
            <a:graphicFrameLocks noGrp="1"/>
          </p:cNvGraphicFramePr>
          <p:nvPr>
            <p:extLst/>
          </p:nvPr>
        </p:nvGraphicFramePr>
        <p:xfrm>
          <a:off x="289976" y="1919866"/>
          <a:ext cx="8458024" cy="4510137"/>
        </p:xfrm>
        <a:graphic>
          <a:graphicData uri="http://schemas.openxmlformats.org/drawingml/2006/table">
            <a:tbl>
              <a:tblPr firstRow="1" bandRow="1">
                <a:tableStyleId>{5C22544A-7EE6-4342-B048-85BDC9FD1C3A}</a:tableStyleId>
              </a:tblPr>
              <a:tblGrid>
                <a:gridCol w="3759976">
                  <a:extLst>
                    <a:ext uri="{9D8B030D-6E8A-4147-A177-3AD203B41FA5}">
                      <a16:colId xmlns:a16="http://schemas.microsoft.com/office/drawing/2014/main" val="20000"/>
                    </a:ext>
                  </a:extLst>
                </a:gridCol>
                <a:gridCol w="487543">
                  <a:extLst>
                    <a:ext uri="{9D8B030D-6E8A-4147-A177-3AD203B41FA5}">
                      <a16:colId xmlns:a16="http://schemas.microsoft.com/office/drawing/2014/main" val="20001"/>
                    </a:ext>
                  </a:extLst>
                </a:gridCol>
                <a:gridCol w="148005">
                  <a:extLst>
                    <a:ext uri="{9D8B030D-6E8A-4147-A177-3AD203B41FA5}">
                      <a16:colId xmlns:a16="http://schemas.microsoft.com/office/drawing/2014/main" val="20002"/>
                    </a:ext>
                  </a:extLst>
                </a:gridCol>
                <a:gridCol w="291943">
                  <a:extLst>
                    <a:ext uri="{9D8B030D-6E8A-4147-A177-3AD203B41FA5}">
                      <a16:colId xmlns:a16="http://schemas.microsoft.com/office/drawing/2014/main" val="20003"/>
                    </a:ext>
                  </a:extLst>
                </a:gridCol>
                <a:gridCol w="114307">
                  <a:extLst>
                    <a:ext uri="{9D8B030D-6E8A-4147-A177-3AD203B41FA5}">
                      <a16:colId xmlns:a16="http://schemas.microsoft.com/office/drawing/2014/main" val="20004"/>
                    </a:ext>
                  </a:extLst>
                </a:gridCol>
                <a:gridCol w="299760">
                  <a:extLst>
                    <a:ext uri="{9D8B030D-6E8A-4147-A177-3AD203B41FA5}">
                      <a16:colId xmlns:a16="http://schemas.microsoft.com/office/drawing/2014/main" val="20005"/>
                    </a:ext>
                  </a:extLst>
                </a:gridCol>
                <a:gridCol w="106490">
                  <a:extLst>
                    <a:ext uri="{9D8B030D-6E8A-4147-A177-3AD203B41FA5}">
                      <a16:colId xmlns:a16="http://schemas.microsoft.com/office/drawing/2014/main" val="20006"/>
                    </a:ext>
                  </a:extLst>
                </a:gridCol>
                <a:gridCol w="406250">
                  <a:extLst>
                    <a:ext uri="{9D8B030D-6E8A-4147-A177-3AD203B41FA5}">
                      <a16:colId xmlns:a16="http://schemas.microsoft.com/office/drawing/2014/main" val="20007"/>
                    </a:ext>
                  </a:extLst>
                </a:gridCol>
                <a:gridCol w="406250">
                  <a:extLst>
                    <a:ext uri="{9D8B030D-6E8A-4147-A177-3AD203B41FA5}">
                      <a16:colId xmlns:a16="http://schemas.microsoft.com/office/drawing/2014/main" val="20008"/>
                    </a:ext>
                  </a:extLst>
                </a:gridCol>
                <a:gridCol w="406250">
                  <a:extLst>
                    <a:ext uri="{9D8B030D-6E8A-4147-A177-3AD203B41FA5}">
                      <a16:colId xmlns:a16="http://schemas.microsoft.com/office/drawing/2014/main" val="20009"/>
                    </a:ext>
                  </a:extLst>
                </a:gridCol>
                <a:gridCol w="406250">
                  <a:extLst>
                    <a:ext uri="{9D8B030D-6E8A-4147-A177-3AD203B41FA5}">
                      <a16:colId xmlns:a16="http://schemas.microsoft.com/office/drawing/2014/main" val="20010"/>
                    </a:ext>
                  </a:extLst>
                </a:gridCol>
                <a:gridCol w="406250">
                  <a:extLst>
                    <a:ext uri="{9D8B030D-6E8A-4147-A177-3AD203B41FA5}">
                      <a16:colId xmlns:a16="http://schemas.microsoft.com/office/drawing/2014/main" val="20011"/>
                    </a:ext>
                  </a:extLst>
                </a:gridCol>
                <a:gridCol w="406250">
                  <a:extLst>
                    <a:ext uri="{9D8B030D-6E8A-4147-A177-3AD203B41FA5}">
                      <a16:colId xmlns:a16="http://schemas.microsoft.com/office/drawing/2014/main" val="20012"/>
                    </a:ext>
                  </a:extLst>
                </a:gridCol>
                <a:gridCol w="406250">
                  <a:extLst>
                    <a:ext uri="{9D8B030D-6E8A-4147-A177-3AD203B41FA5}">
                      <a16:colId xmlns:a16="http://schemas.microsoft.com/office/drawing/2014/main" val="20013"/>
                    </a:ext>
                  </a:extLst>
                </a:gridCol>
                <a:gridCol w="406250">
                  <a:extLst>
                    <a:ext uri="{9D8B030D-6E8A-4147-A177-3AD203B41FA5}">
                      <a16:colId xmlns:a16="http://schemas.microsoft.com/office/drawing/2014/main" val="20014"/>
                    </a:ext>
                  </a:extLst>
                </a:gridCol>
              </a:tblGrid>
              <a:tr h="669157">
                <a:tc>
                  <a:txBody>
                    <a:bodyPr/>
                    <a:lstStyle/>
                    <a:p>
                      <a:pPr algn="ctr"/>
                      <a:r>
                        <a:rPr lang="en-GB" sz="800" dirty="0" smtClean="0">
                          <a:latin typeface="+mj-lt"/>
                        </a:rPr>
                        <a:t>Action</a:t>
                      </a:r>
                      <a:endParaRPr lang="en-GB" sz="80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50" b="0" kern="1200" dirty="0" smtClean="0">
                          <a:solidFill>
                            <a:srgbClr val="FFFFFF"/>
                          </a:solidFill>
                          <a:effectLst/>
                          <a:latin typeface="+mj-lt"/>
                          <a:ea typeface="Times New Roman" panose="02020603050405020304" pitchFamily="18" charset="0"/>
                          <a:cs typeface="Arial" panose="020B0604020202020204" pitchFamily="34" charset="0"/>
                        </a:rPr>
                        <a:t>October</a:t>
                      </a:r>
                    </a:p>
                  </a:txBody>
                  <a:tcPr marL="36000" marR="36000" marT="36000" marB="36000"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50" b="0" dirty="0" smtClean="0">
                          <a:solidFill>
                            <a:srgbClr val="FFFFFF"/>
                          </a:solidFill>
                          <a:effectLst/>
                          <a:latin typeface="+mj-lt"/>
                          <a:ea typeface="Times New Roman" panose="02020603050405020304" pitchFamily="18" charset="0"/>
                          <a:cs typeface="Arial" panose="020B0604020202020204" pitchFamily="34" charset="0"/>
                        </a:rPr>
                        <a:t>November</a:t>
                      </a:r>
                      <a:endParaRPr lang="en-GB" sz="750" b="0" dirty="0" smtClean="0">
                        <a:effectLst/>
                        <a:latin typeface="+mj-lt"/>
                        <a:ea typeface="Times New Roman" panose="02020603050405020304" pitchFamily="18" charset="0"/>
                        <a:cs typeface="Times New Roman" panose="02020603050405020304" pitchFamily="18" charset="0"/>
                      </a:endParaRPr>
                    </a:p>
                  </a:txBody>
                  <a:tcPr marL="36000" marR="36000" marT="36000" marB="36000"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750" b="0" dirty="0" smtClean="0">
                        <a:effectLst/>
                        <a:latin typeface="+mj-lt"/>
                        <a:ea typeface="Times New Roman" panose="02020603050405020304" pitchFamily="18" charset="0"/>
                        <a:cs typeface="Times New Roman" panose="02020603050405020304" pitchFamily="18" charset="0"/>
                      </a:endParaRPr>
                    </a:p>
                  </a:txBody>
                  <a:tcPr marL="36000" marR="36000" marT="36000" marB="36000"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50" b="0" dirty="0" smtClean="0">
                          <a:effectLst/>
                          <a:latin typeface="+mj-lt"/>
                          <a:ea typeface="Times New Roman" panose="02020603050405020304" pitchFamily="18" charset="0"/>
                          <a:cs typeface="Times New Roman" panose="02020603050405020304" pitchFamily="18" charset="0"/>
                        </a:rPr>
                        <a:t>December</a:t>
                      </a:r>
                    </a:p>
                  </a:txBody>
                  <a:tcPr marL="36000" marR="36000" marT="36000" marB="36000"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750" b="0" dirty="0" smtClean="0">
                        <a:effectLst/>
                        <a:latin typeface="+mj-lt"/>
                        <a:ea typeface="Times New Roman" panose="02020603050405020304" pitchFamily="18" charset="0"/>
                        <a:cs typeface="Times New Roman" panose="02020603050405020304" pitchFamily="18" charset="0"/>
                      </a:endParaRPr>
                    </a:p>
                  </a:txBody>
                  <a:tcPr marL="36000" marR="36000" marT="36000" marB="36000"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50" b="0" dirty="0" smtClean="0">
                          <a:effectLst/>
                          <a:latin typeface="+mj-lt"/>
                          <a:ea typeface="Times New Roman" panose="02020603050405020304" pitchFamily="18" charset="0"/>
                          <a:cs typeface="Times New Roman" panose="02020603050405020304" pitchFamily="18" charset="0"/>
                        </a:rPr>
                        <a:t>January</a:t>
                      </a:r>
                    </a:p>
                  </a:txBody>
                  <a:tcPr marL="36000" marR="36000" marT="36000" marB="36000"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750" b="0" dirty="0" smtClean="0">
                        <a:effectLst/>
                        <a:latin typeface="+mj-lt"/>
                        <a:ea typeface="Times New Roman" panose="02020603050405020304" pitchFamily="18" charset="0"/>
                        <a:cs typeface="Times New Roman" panose="02020603050405020304" pitchFamily="18" charset="0"/>
                      </a:endParaRPr>
                    </a:p>
                  </a:txBody>
                  <a:tcPr marL="36000" marR="36000" marT="36000" marB="36000"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50" b="0" dirty="0" smtClean="0">
                          <a:effectLst/>
                          <a:latin typeface="+mj-lt"/>
                          <a:ea typeface="Times New Roman" panose="02020603050405020304" pitchFamily="18" charset="0"/>
                          <a:cs typeface="Times New Roman" panose="02020603050405020304" pitchFamily="18" charset="0"/>
                        </a:rPr>
                        <a:t>February</a:t>
                      </a:r>
                    </a:p>
                  </a:txBody>
                  <a:tcPr marL="36000" marR="36000" marT="36000" marB="36000"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50" b="0" dirty="0" smtClean="0">
                          <a:effectLst/>
                          <a:latin typeface="+mj-lt"/>
                          <a:ea typeface="Times New Roman" panose="02020603050405020304" pitchFamily="18" charset="0"/>
                          <a:cs typeface="Times New Roman" panose="02020603050405020304" pitchFamily="18" charset="0"/>
                        </a:rPr>
                        <a:t>March</a:t>
                      </a:r>
                    </a:p>
                  </a:txBody>
                  <a:tcPr marL="36000" marR="36000" marT="36000" marB="36000"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50" b="0" dirty="0" smtClean="0">
                          <a:effectLst/>
                          <a:latin typeface="+mj-lt"/>
                          <a:ea typeface="Times New Roman" panose="02020603050405020304" pitchFamily="18" charset="0"/>
                          <a:cs typeface="Times New Roman" panose="02020603050405020304" pitchFamily="18" charset="0"/>
                        </a:rPr>
                        <a:t>April</a:t>
                      </a:r>
                    </a:p>
                  </a:txBody>
                  <a:tcPr marL="36000" marR="36000" marT="36000" marB="36000"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50" b="0" dirty="0" smtClean="0">
                          <a:effectLst/>
                          <a:latin typeface="+mj-lt"/>
                          <a:ea typeface="Times New Roman" panose="02020603050405020304" pitchFamily="18" charset="0"/>
                          <a:cs typeface="Times New Roman" panose="02020603050405020304" pitchFamily="18" charset="0"/>
                        </a:rPr>
                        <a:t>May</a:t>
                      </a:r>
                    </a:p>
                  </a:txBody>
                  <a:tcPr marL="36000" marR="36000" marT="36000" marB="36000"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50" b="0" kern="1200" dirty="0" smtClean="0">
                          <a:solidFill>
                            <a:srgbClr val="FFFFFF"/>
                          </a:solidFill>
                          <a:effectLst/>
                          <a:latin typeface="+mj-lt"/>
                          <a:ea typeface="Times New Roman" panose="02020603050405020304" pitchFamily="18" charset="0"/>
                          <a:cs typeface="Arial" panose="020B0604020202020204" pitchFamily="34" charset="0"/>
                        </a:rPr>
                        <a:t>June</a:t>
                      </a:r>
                    </a:p>
                  </a:txBody>
                  <a:tcPr marL="36000" marR="36000" marT="36000" marB="36000"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50" b="0" kern="1200" dirty="0" smtClean="0">
                          <a:solidFill>
                            <a:srgbClr val="FFFFFF"/>
                          </a:solidFill>
                          <a:effectLst/>
                          <a:latin typeface="+mj-lt"/>
                          <a:ea typeface="Times New Roman" panose="02020603050405020304" pitchFamily="18" charset="0"/>
                          <a:cs typeface="Arial" panose="020B0604020202020204" pitchFamily="34" charset="0"/>
                        </a:rPr>
                        <a:t>July</a:t>
                      </a:r>
                    </a:p>
                  </a:txBody>
                  <a:tcPr marL="36000" marR="36000" marT="36000" marB="36000"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750" b="0" kern="1200" baseline="0" dirty="0" smtClean="0">
                          <a:solidFill>
                            <a:srgbClr val="FFFFFF"/>
                          </a:solidFill>
                          <a:effectLst/>
                          <a:latin typeface="+mj-lt"/>
                          <a:ea typeface="Times New Roman" panose="02020603050405020304" pitchFamily="18" charset="0"/>
                          <a:cs typeface="Arial" panose="020B0604020202020204" pitchFamily="34" charset="0"/>
                        </a:rPr>
                        <a:t>September</a:t>
                      </a:r>
                      <a:endParaRPr lang="en-GB" sz="750" b="0" kern="1200" dirty="0" smtClean="0">
                        <a:solidFill>
                          <a:srgbClr val="FFFFFF"/>
                        </a:solidFill>
                        <a:effectLst/>
                        <a:latin typeface="+mj-lt"/>
                        <a:ea typeface="Times New Roman" panose="02020603050405020304" pitchFamily="18" charset="0"/>
                        <a:cs typeface="Arial" panose="020B0604020202020204" pitchFamily="34" charset="0"/>
                      </a:endParaRPr>
                    </a:p>
                  </a:txBody>
                  <a:tcPr marL="36000" marR="36000" marT="36000" marB="36000" vert="vert27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tcPr>
                </a:tc>
                <a:extLst>
                  <a:ext uri="{0D108BD9-81ED-4DB2-BD59-A6C34878D82A}">
                    <a16:rowId xmlns:a16="http://schemas.microsoft.com/office/drawing/2014/main" val="10000"/>
                  </a:ext>
                </a:extLst>
              </a:tr>
              <a:tr h="301090">
                <a:tc>
                  <a:txBody>
                    <a:bodyPr/>
                    <a:lstStyle/>
                    <a:p>
                      <a:pPr algn="l">
                        <a:lnSpc>
                          <a:spcPts val="1400"/>
                        </a:lnSpc>
                        <a:spcAft>
                          <a:spcPts val="0"/>
                        </a:spcAft>
                      </a:pPr>
                      <a:r>
                        <a:rPr lang="en-GB" sz="750" b="0" kern="1200" baseline="0" dirty="0" smtClean="0">
                          <a:solidFill>
                            <a:schemeClr val="tx1"/>
                          </a:solidFill>
                          <a:latin typeface="+mj-lt"/>
                          <a:ea typeface="+mn-ea"/>
                          <a:cs typeface="Arial" pitchFamily="34" charset="0"/>
                        </a:rPr>
                        <a:t>Survey refinement through consultation with management</a:t>
                      </a:r>
                      <a:endParaRPr lang="en-GB" sz="750" b="0" kern="1200" baseline="0" dirty="0">
                        <a:solidFill>
                          <a:schemeClr val="tx1"/>
                        </a:solidFill>
                        <a:latin typeface="+mj-lt"/>
                        <a:ea typeface="+mn-ea"/>
                        <a:cs typeface="Arial" pitchFamily="34" charset="0"/>
                      </a:endParaRPr>
                    </a:p>
                  </a:txBody>
                  <a:tcPr marL="65035" marR="650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050"/>
                    </a:solid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400"/>
                    </a:solidFill>
                  </a:tcPr>
                </a:tc>
                <a:tc hMerge="1">
                  <a:txBody>
                    <a:bodyPr/>
                    <a:lstStyle/>
                    <a:p>
                      <a:pPr marL="0" algn="l" defTabSz="914400" rtl="0" eaLnBrk="1" latinLnBrk="0" hangingPunct="1"/>
                      <a:endParaRPr lang="en-GB" sz="750" kern="1200" dirty="0">
                        <a:solidFill>
                          <a:schemeClr val="dk1"/>
                        </a:solidFill>
                        <a:latin typeface="+mj-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400"/>
                    </a:solid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marL="0" algn="l" defTabSz="914400" rtl="0" eaLnBrk="1" latinLnBrk="0" hangingPunct="1"/>
                      <a:endParaRPr lang="en-GB" sz="750" kern="1200" dirty="0">
                        <a:solidFill>
                          <a:schemeClr val="dk1"/>
                        </a:solidFill>
                        <a:latin typeface="+mj-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marL="0" algn="l" defTabSz="914400" rtl="0" eaLnBrk="1" latinLnBrk="0" hangingPunct="1"/>
                      <a:endParaRPr lang="en-GB" sz="750" kern="1200" dirty="0">
                        <a:solidFill>
                          <a:schemeClr val="dk1"/>
                        </a:solidFill>
                        <a:latin typeface="+mj-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algn="l" defTabSz="914400" rtl="0" eaLnBrk="1" latinLnBrk="0" hangingPunct="1"/>
                      <a:endParaRPr lang="en-GB" sz="750" kern="1200" dirty="0">
                        <a:solidFill>
                          <a:schemeClr val="dk1"/>
                        </a:solidFill>
                        <a:latin typeface="+mj-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1"/>
                  </a:ext>
                </a:extLst>
              </a:tr>
              <a:tr h="301090">
                <a:tc>
                  <a:txBody>
                    <a:bodyPr/>
                    <a:lstStyle/>
                    <a:p>
                      <a:pPr algn="l">
                        <a:lnSpc>
                          <a:spcPts val="1400"/>
                        </a:lnSpc>
                        <a:spcAft>
                          <a:spcPts val="0"/>
                        </a:spcAft>
                      </a:pPr>
                      <a:r>
                        <a:rPr lang="en-GB" sz="750" b="0" kern="1200" baseline="0" dirty="0" smtClean="0">
                          <a:solidFill>
                            <a:schemeClr val="tx1"/>
                          </a:solidFill>
                          <a:latin typeface="+mj-lt"/>
                          <a:ea typeface="+mn-ea"/>
                          <a:cs typeface="Arial" pitchFamily="34" charset="0"/>
                        </a:rPr>
                        <a:t>Survey distribution and collection of results</a:t>
                      </a:r>
                      <a:endParaRPr lang="en-GB" sz="750" b="0" kern="1200" baseline="0" dirty="0">
                        <a:solidFill>
                          <a:schemeClr val="tx1"/>
                        </a:solidFill>
                        <a:latin typeface="+mj-lt"/>
                        <a:ea typeface="+mn-ea"/>
                        <a:cs typeface="Arial" pitchFamily="34" charset="0"/>
                      </a:endParaRPr>
                    </a:p>
                  </a:txBody>
                  <a:tcPr marL="65035" marR="650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400"/>
                    </a:solidFill>
                  </a:tcPr>
                </a:tc>
                <a:tc hMerge="1">
                  <a:txBody>
                    <a:bodyPr/>
                    <a:lstStyle/>
                    <a:p>
                      <a:pPr marL="0" algn="l" defTabSz="914400" rtl="0" eaLnBrk="1" latinLnBrk="0" hangingPunct="1"/>
                      <a:endParaRPr lang="en-GB" sz="750" kern="1200" dirty="0">
                        <a:solidFill>
                          <a:schemeClr val="dk1"/>
                        </a:solidFill>
                        <a:latin typeface="+mj-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400"/>
                    </a:solid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400"/>
                    </a:solidFill>
                  </a:tcPr>
                </a:tc>
                <a:tc hMerge="1">
                  <a:txBody>
                    <a:bodyPr/>
                    <a:lstStyle/>
                    <a:p>
                      <a:pPr marL="0" algn="l" defTabSz="914400" rtl="0" eaLnBrk="1" latinLnBrk="0" hangingPunct="1"/>
                      <a:endParaRPr lang="en-GB" sz="750" kern="1200" dirty="0">
                        <a:solidFill>
                          <a:schemeClr val="dk1"/>
                        </a:solidFill>
                        <a:latin typeface="+mj-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400"/>
                    </a:solid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400"/>
                    </a:solidFill>
                  </a:tcPr>
                </a:tc>
                <a:tc hMerge="1">
                  <a:txBody>
                    <a:bodyPr/>
                    <a:lstStyle/>
                    <a:p>
                      <a:pPr marL="0" algn="l" defTabSz="914400" rtl="0" eaLnBrk="1" latinLnBrk="0" hangingPunct="1"/>
                      <a:endParaRPr lang="en-GB" sz="750" kern="1200" dirty="0">
                        <a:solidFill>
                          <a:schemeClr val="dk1"/>
                        </a:solidFill>
                        <a:latin typeface="+mj-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400"/>
                    </a:solidFill>
                  </a:tcPr>
                </a:tc>
                <a:tc>
                  <a:txBody>
                    <a:bodyPr/>
                    <a:lstStyle/>
                    <a:p>
                      <a:pPr marL="0" algn="l" defTabSz="914400" rtl="0" eaLnBrk="1" latinLnBrk="0" hangingPunct="1"/>
                      <a:endParaRPr lang="en-GB" sz="750" kern="1200" dirty="0">
                        <a:solidFill>
                          <a:schemeClr val="dk1"/>
                        </a:solidFill>
                        <a:latin typeface="+mj-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2"/>
                  </a:ext>
                </a:extLst>
              </a:tr>
              <a:tr h="301090">
                <a:tc>
                  <a:txBody>
                    <a:bodyPr/>
                    <a:lstStyle/>
                    <a:p>
                      <a:pPr algn="l">
                        <a:lnSpc>
                          <a:spcPts val="1400"/>
                        </a:lnSpc>
                        <a:spcAft>
                          <a:spcPts val="0"/>
                        </a:spcAft>
                      </a:pPr>
                      <a:r>
                        <a:rPr lang="en-GB" sz="750" b="0" kern="1200" baseline="0" dirty="0" smtClean="0">
                          <a:solidFill>
                            <a:schemeClr val="tx1"/>
                          </a:solidFill>
                          <a:latin typeface="+mj-lt"/>
                          <a:ea typeface="+mn-ea"/>
                          <a:cs typeface="Arial" pitchFamily="34" charset="0"/>
                        </a:rPr>
                        <a:t>Initial analysis of survey results</a:t>
                      </a:r>
                      <a:endParaRPr lang="en-GB" sz="750" b="0" kern="1200" baseline="0" dirty="0">
                        <a:solidFill>
                          <a:schemeClr val="tx1"/>
                        </a:solidFill>
                        <a:latin typeface="+mj-lt"/>
                        <a:ea typeface="+mn-ea"/>
                        <a:cs typeface="Arial" pitchFamily="34" charset="0"/>
                      </a:endParaRPr>
                    </a:p>
                  </a:txBody>
                  <a:tcPr marL="65035" marR="650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400"/>
                    </a:solidFill>
                  </a:tcPr>
                </a:tc>
                <a:tc hMerge="1">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400"/>
                    </a:solidFill>
                  </a:tcPr>
                </a:tc>
                <a:tc>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400"/>
                    </a:solid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3"/>
                  </a:ext>
                </a:extLst>
              </a:tr>
              <a:tr h="301090">
                <a:tc>
                  <a:txBody>
                    <a:bodyPr/>
                    <a:lstStyle/>
                    <a:p>
                      <a:pPr algn="l">
                        <a:lnSpc>
                          <a:spcPts val="1400"/>
                        </a:lnSpc>
                        <a:spcAft>
                          <a:spcPts val="0"/>
                        </a:spcAft>
                      </a:pPr>
                      <a:r>
                        <a:rPr lang="en-GB" sz="750" b="0" kern="1200" baseline="0" dirty="0" smtClean="0">
                          <a:solidFill>
                            <a:schemeClr val="tx1"/>
                          </a:solidFill>
                          <a:latin typeface="+mj-lt"/>
                          <a:ea typeface="+mn-ea"/>
                          <a:cs typeface="Arial" pitchFamily="34" charset="0"/>
                        </a:rPr>
                        <a:t>Department visits</a:t>
                      </a:r>
                      <a:endParaRPr lang="en-GB" sz="750" b="0" kern="1200" baseline="0" dirty="0">
                        <a:solidFill>
                          <a:schemeClr val="tx1"/>
                        </a:solidFill>
                        <a:latin typeface="+mj-lt"/>
                        <a:ea typeface="+mn-ea"/>
                        <a:cs typeface="Arial" pitchFamily="34" charset="0"/>
                      </a:endParaRPr>
                    </a:p>
                  </a:txBody>
                  <a:tcPr marL="65035" marR="650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400"/>
                    </a:solid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4"/>
                  </a:ext>
                </a:extLst>
              </a:tr>
              <a:tr h="301090">
                <a:tc>
                  <a:txBody>
                    <a:bodyPr/>
                    <a:lstStyle/>
                    <a:p>
                      <a:pPr algn="l">
                        <a:lnSpc>
                          <a:spcPts val="1400"/>
                        </a:lnSpc>
                        <a:spcAft>
                          <a:spcPts val="0"/>
                        </a:spcAft>
                      </a:pPr>
                      <a:r>
                        <a:rPr lang="en-GB" sz="750" b="0" kern="1200" baseline="0" dirty="0">
                          <a:solidFill>
                            <a:schemeClr val="tx1"/>
                          </a:solidFill>
                          <a:latin typeface="+mj-lt"/>
                          <a:ea typeface="+mn-ea"/>
                          <a:cs typeface="Arial" pitchFamily="34" charset="0"/>
                        </a:rPr>
                        <a:t>Additional </a:t>
                      </a:r>
                      <a:r>
                        <a:rPr lang="en-GB" sz="750" b="0" kern="1200" baseline="0" dirty="0" smtClean="0">
                          <a:solidFill>
                            <a:schemeClr val="tx1"/>
                          </a:solidFill>
                          <a:latin typeface="+mj-lt"/>
                          <a:ea typeface="+mn-ea"/>
                          <a:cs typeface="Arial" pitchFamily="34" charset="0"/>
                        </a:rPr>
                        <a:t>analysis of survey results and draft report</a:t>
                      </a:r>
                      <a:endParaRPr lang="en-GB" sz="750" b="0" kern="1200" baseline="0" dirty="0">
                        <a:solidFill>
                          <a:schemeClr val="tx1"/>
                        </a:solidFill>
                        <a:latin typeface="+mj-lt"/>
                        <a:ea typeface="+mn-ea"/>
                        <a:cs typeface="Arial" pitchFamily="34" charset="0"/>
                      </a:endParaRPr>
                    </a:p>
                  </a:txBody>
                  <a:tcPr marL="65035" marR="650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400"/>
                    </a:solid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5"/>
                  </a:ext>
                </a:extLst>
              </a:tr>
              <a:tr h="301090">
                <a:tc>
                  <a:txBody>
                    <a:bodyPr/>
                    <a:lstStyle/>
                    <a:p>
                      <a:pPr marL="0" marR="0" lvl="0" indent="0" algn="l" defTabSz="914446" rtl="0" eaLnBrk="1" fontAlgn="auto" latinLnBrk="0" hangingPunct="1">
                        <a:lnSpc>
                          <a:spcPts val="1400"/>
                        </a:lnSpc>
                        <a:spcBef>
                          <a:spcPts val="0"/>
                        </a:spcBef>
                        <a:spcAft>
                          <a:spcPts val="0"/>
                        </a:spcAft>
                        <a:buClrTx/>
                        <a:buSzTx/>
                        <a:buFontTx/>
                        <a:buNone/>
                        <a:tabLst/>
                        <a:defRPr/>
                      </a:pPr>
                      <a:r>
                        <a:rPr lang="en-GB" sz="750" b="0" kern="1200" baseline="0" dirty="0" smtClean="0">
                          <a:solidFill>
                            <a:schemeClr val="tx1"/>
                          </a:solidFill>
                          <a:latin typeface="+mj-lt"/>
                          <a:ea typeface="+mn-ea"/>
                          <a:cs typeface="Arial" pitchFamily="34" charset="0"/>
                        </a:rPr>
                        <a:t>Distribute survey results to Central Offices and Finance Division</a:t>
                      </a:r>
                    </a:p>
                  </a:txBody>
                  <a:tcPr marL="65035" marR="650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400"/>
                    </a:solid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6"/>
                  </a:ext>
                </a:extLst>
              </a:tr>
              <a:tr h="301090">
                <a:tc>
                  <a:txBody>
                    <a:bodyPr/>
                    <a:lstStyle/>
                    <a:p>
                      <a:pPr marL="0" marR="0" lvl="0" indent="0" algn="l" defTabSz="914446" rtl="0" eaLnBrk="1" fontAlgn="auto" latinLnBrk="0" hangingPunct="1">
                        <a:lnSpc>
                          <a:spcPts val="1400"/>
                        </a:lnSpc>
                        <a:spcBef>
                          <a:spcPts val="0"/>
                        </a:spcBef>
                        <a:spcAft>
                          <a:spcPts val="0"/>
                        </a:spcAft>
                        <a:buClrTx/>
                        <a:buSzTx/>
                        <a:buFontTx/>
                        <a:buNone/>
                        <a:tabLst/>
                        <a:defRPr/>
                      </a:pPr>
                      <a:r>
                        <a:rPr lang="en-GB" sz="750" b="0" kern="1200" baseline="0" dirty="0" smtClean="0">
                          <a:solidFill>
                            <a:schemeClr val="tx1"/>
                          </a:solidFill>
                          <a:latin typeface="+mj-lt"/>
                          <a:ea typeface="+mn-ea"/>
                          <a:cs typeface="Arial" pitchFamily="34" charset="0"/>
                        </a:rPr>
                        <a:t>Presentation to Schools/Departments</a:t>
                      </a:r>
                    </a:p>
                  </a:txBody>
                  <a:tcPr marL="65035" marR="650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050"/>
                    </a:solid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7"/>
                  </a:ext>
                </a:extLst>
              </a:tr>
              <a:tr h="301090">
                <a:tc>
                  <a:txBody>
                    <a:bodyPr/>
                    <a:lstStyle/>
                    <a:p>
                      <a:pPr marL="0" marR="0" indent="0" algn="l" defTabSz="914446" rtl="0" eaLnBrk="1" fontAlgn="auto" latinLnBrk="0" hangingPunct="1">
                        <a:lnSpc>
                          <a:spcPts val="1400"/>
                        </a:lnSpc>
                        <a:spcBef>
                          <a:spcPts val="0"/>
                        </a:spcBef>
                        <a:spcAft>
                          <a:spcPts val="0"/>
                        </a:spcAft>
                        <a:buClrTx/>
                        <a:buSzTx/>
                        <a:buFontTx/>
                        <a:buNone/>
                        <a:tabLst/>
                        <a:defRPr/>
                      </a:pPr>
                      <a:r>
                        <a:rPr lang="en-GB" sz="750" b="0" kern="1200" baseline="0" dirty="0" smtClean="0">
                          <a:solidFill>
                            <a:schemeClr val="tx1"/>
                          </a:solidFill>
                          <a:latin typeface="+mj-lt"/>
                          <a:ea typeface="+mn-ea"/>
                          <a:cs typeface="Arial" pitchFamily="34" charset="0"/>
                        </a:rPr>
                        <a:t>Draft suggested actions and obtain management responses </a:t>
                      </a:r>
                    </a:p>
                  </a:txBody>
                  <a:tcPr marL="65035" marR="650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kern="1200" dirty="0">
                        <a:solidFill>
                          <a:schemeClr val="tx2"/>
                        </a:solidFill>
                        <a:latin typeface="+mj-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400"/>
                    </a:solid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400"/>
                    </a:solid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8"/>
                  </a:ext>
                </a:extLst>
              </a:tr>
              <a:tr h="301090">
                <a:tc>
                  <a:txBody>
                    <a:bodyPr/>
                    <a:lstStyle/>
                    <a:p>
                      <a:pPr marL="0" marR="0" indent="0" algn="l" defTabSz="914400" rtl="0" eaLnBrk="1" fontAlgn="auto" latinLnBrk="0" hangingPunct="1">
                        <a:lnSpc>
                          <a:spcPts val="1400"/>
                        </a:lnSpc>
                        <a:spcBef>
                          <a:spcPts val="0"/>
                        </a:spcBef>
                        <a:spcAft>
                          <a:spcPts val="0"/>
                        </a:spcAft>
                        <a:buClrTx/>
                        <a:buSzTx/>
                        <a:buFontTx/>
                        <a:buNone/>
                        <a:tabLst/>
                        <a:defRPr/>
                      </a:pPr>
                      <a:r>
                        <a:rPr lang="en-GB" sz="750" b="0" kern="1200" baseline="0" dirty="0" smtClean="0">
                          <a:solidFill>
                            <a:schemeClr val="tx1"/>
                          </a:solidFill>
                          <a:latin typeface="+mj-lt"/>
                          <a:ea typeface="+mn-ea"/>
                          <a:cs typeface="Arial" pitchFamily="34" charset="0"/>
                        </a:rPr>
                        <a:t>Distribute final report to the Audit Committee</a:t>
                      </a:r>
                    </a:p>
                  </a:txBody>
                  <a:tcPr marL="65035" marR="650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050"/>
                    </a:solid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0009"/>
                  </a:ext>
                </a:extLst>
              </a:tr>
              <a:tr h="114719">
                <a:tc gridSpan="13">
                  <a:txBody>
                    <a:bodyPr/>
                    <a:lstStyle/>
                    <a:p>
                      <a:pPr marL="0" algn="ctr" defTabSz="914446" rtl="0" eaLnBrk="1" latinLnBrk="0" hangingPunct="1"/>
                      <a:r>
                        <a:rPr lang="en-GB" sz="800" b="1" kern="1200" dirty="0" smtClean="0">
                          <a:solidFill>
                            <a:schemeClr val="bg1"/>
                          </a:solidFill>
                          <a:latin typeface="+mj-lt"/>
                          <a:ea typeface="+mn-ea"/>
                          <a:cs typeface="+mn-cs"/>
                        </a:rPr>
                        <a:t>Next Steps</a:t>
                      </a:r>
                      <a:endParaRPr lang="en-GB" sz="800" b="1" kern="1200" dirty="0">
                        <a:solidFill>
                          <a:schemeClr val="bg1"/>
                        </a:solidFill>
                        <a:latin typeface="+mj-lt"/>
                        <a:ea typeface="+mn-ea"/>
                        <a:cs typeface="+mn-cs"/>
                      </a:endParaRPr>
                    </a:p>
                  </a:txBody>
                  <a:tcPr marL="65035" marR="650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hMerge="1">
                  <a:txBody>
                    <a:bodyPr/>
                    <a:lstStyle/>
                    <a:p>
                      <a:endParaRPr lang="en-GB"/>
                    </a:p>
                  </a:txBody>
                  <a:tcPr/>
                </a:tc>
                <a:tc hMerge="1">
                  <a:txBody>
                    <a:bodyPr/>
                    <a:lstStyle/>
                    <a:p>
                      <a:endParaRPr lang="en-GB"/>
                    </a:p>
                  </a:txBody>
                  <a:tcPr/>
                </a:tc>
                <a:tc hMerge="1">
                  <a:txBody>
                    <a:bodyPr/>
                    <a:lstStyle/>
                    <a:p>
                      <a:pPr marL="0" algn="ctr" defTabSz="914400" rtl="0" eaLnBrk="1" latinLnBrk="0" hangingPunct="1">
                        <a:lnSpc>
                          <a:spcPts val="1400"/>
                        </a:lnSpc>
                        <a:spcAft>
                          <a:spcPts val="0"/>
                        </a:spcAft>
                      </a:pPr>
                      <a:endParaRPr lang="en-GB" sz="1100" b="1" kern="1200" dirty="0">
                        <a:solidFill>
                          <a:schemeClr val="lt1"/>
                        </a:solidFill>
                        <a:latin typeface="+mn-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a:p>
                  </a:txBody>
                  <a:tcPr/>
                </a:tc>
                <a:tc hMerge="1">
                  <a:txBody>
                    <a:bodyPr/>
                    <a:lstStyle/>
                    <a:p>
                      <a:pPr marL="0" algn="ctr" defTabSz="914400" rtl="0" eaLnBrk="1" latinLnBrk="0" hangingPunct="1">
                        <a:lnSpc>
                          <a:spcPts val="1400"/>
                        </a:lnSpc>
                        <a:spcAft>
                          <a:spcPts val="0"/>
                        </a:spcAft>
                      </a:pPr>
                      <a:endParaRPr lang="en-GB" sz="1100" b="1" kern="1200" dirty="0">
                        <a:solidFill>
                          <a:schemeClr val="lt1"/>
                        </a:solidFill>
                        <a:latin typeface="+mn-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a:p>
                  </a:txBody>
                  <a:tcPr/>
                </a:tc>
                <a:tc hMerge="1">
                  <a:txBody>
                    <a:bodyPr/>
                    <a:lstStyle/>
                    <a:p>
                      <a:pPr marL="0" algn="ctr" defTabSz="914400" rtl="0" eaLnBrk="1" latinLnBrk="0" hangingPunct="1">
                        <a:lnSpc>
                          <a:spcPts val="1400"/>
                        </a:lnSpc>
                        <a:spcAft>
                          <a:spcPts val="0"/>
                        </a:spcAft>
                      </a:pPr>
                      <a:endParaRPr lang="en-GB" sz="1100" b="1" kern="1200" dirty="0">
                        <a:solidFill>
                          <a:schemeClr val="lt1"/>
                        </a:solidFill>
                        <a:latin typeface="+mn-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marL="0" algn="ctr" defTabSz="914400" rtl="0" eaLnBrk="1" latinLnBrk="0" hangingPunct="1">
                        <a:lnSpc>
                          <a:spcPts val="1400"/>
                        </a:lnSpc>
                        <a:spcAft>
                          <a:spcPts val="0"/>
                        </a:spcAft>
                      </a:pPr>
                      <a:endParaRPr lang="en-GB" sz="1100" b="1" kern="1200" dirty="0">
                        <a:solidFill>
                          <a:schemeClr val="lt1"/>
                        </a:solidFill>
                        <a:latin typeface="+mn-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marL="0" algn="ctr" defTabSz="914400" rtl="0" eaLnBrk="1" latinLnBrk="0" hangingPunct="1">
                        <a:lnSpc>
                          <a:spcPts val="1400"/>
                        </a:lnSpc>
                        <a:spcAft>
                          <a:spcPts val="0"/>
                        </a:spcAft>
                      </a:pPr>
                      <a:endParaRPr lang="en-GB" sz="1100" b="1" kern="1200" dirty="0">
                        <a:solidFill>
                          <a:schemeClr val="lt1"/>
                        </a:solidFill>
                        <a:latin typeface="+mn-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marL="0" algn="ctr" defTabSz="914400" rtl="0" eaLnBrk="1" latinLnBrk="0" hangingPunct="1">
                        <a:lnSpc>
                          <a:spcPts val="1400"/>
                        </a:lnSpc>
                        <a:spcAft>
                          <a:spcPts val="0"/>
                        </a:spcAft>
                      </a:pPr>
                      <a:endParaRPr lang="en-GB" sz="1100" b="1" kern="1200" dirty="0">
                        <a:solidFill>
                          <a:schemeClr val="lt1"/>
                        </a:solidFill>
                        <a:latin typeface="+mn-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marL="0" algn="ctr" defTabSz="914400" rtl="0" eaLnBrk="1" latinLnBrk="0" hangingPunct="1">
                        <a:lnSpc>
                          <a:spcPts val="1400"/>
                        </a:lnSpc>
                        <a:spcAft>
                          <a:spcPts val="0"/>
                        </a:spcAft>
                      </a:pPr>
                      <a:endParaRPr lang="en-GB" sz="1100" b="1" kern="1200" dirty="0">
                        <a:solidFill>
                          <a:schemeClr val="lt1"/>
                        </a:solidFill>
                        <a:latin typeface="+mn-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pPr marL="0" algn="ctr" defTabSz="914400" rtl="0" eaLnBrk="1" latinLnBrk="0" hangingPunct="1">
                        <a:lnSpc>
                          <a:spcPts val="1400"/>
                        </a:lnSpc>
                        <a:spcAft>
                          <a:spcPts val="0"/>
                        </a:spcAft>
                      </a:pPr>
                      <a:endParaRPr lang="en-GB" sz="1100" b="1" kern="1200" dirty="0">
                        <a:solidFill>
                          <a:schemeClr val="lt1"/>
                        </a:solidFill>
                        <a:latin typeface="+mn-lt"/>
                        <a:ea typeface="+mn-ea"/>
                        <a:cs typeface="+mn-cs"/>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algn="ctr" defTabSz="914446" rtl="0" eaLnBrk="1" latinLnBrk="0" hangingPunct="1"/>
                      <a:endParaRPr lang="en-GB" sz="750" b="1" kern="1200" dirty="0">
                        <a:solidFill>
                          <a:schemeClr val="lt1"/>
                        </a:solidFill>
                        <a:latin typeface="+mj-lt"/>
                        <a:ea typeface="+mn-ea"/>
                        <a:cs typeface="+mn-cs"/>
                      </a:endParaRPr>
                    </a:p>
                  </a:txBody>
                  <a:tcPr marL="65035" marR="650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algn="ctr" defTabSz="914446" rtl="0" eaLnBrk="1" latinLnBrk="0" hangingPunct="1"/>
                      <a:endParaRPr lang="en-GB" sz="750" b="1" kern="1200" dirty="0">
                        <a:solidFill>
                          <a:schemeClr val="lt1"/>
                        </a:solidFill>
                        <a:latin typeface="+mj-lt"/>
                        <a:ea typeface="+mn-ea"/>
                        <a:cs typeface="+mn-cs"/>
                      </a:endParaRPr>
                    </a:p>
                  </a:txBody>
                  <a:tcPr marL="65035" marR="650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10"/>
                  </a:ext>
                </a:extLst>
              </a:tr>
              <a:tr h="301090">
                <a:tc>
                  <a:txBody>
                    <a:bodyPr/>
                    <a:lstStyle/>
                    <a:p>
                      <a:pPr marL="0" algn="l" defTabSz="914400" rtl="0" eaLnBrk="1" latinLnBrk="0" hangingPunct="1">
                        <a:lnSpc>
                          <a:spcPts val="1400"/>
                        </a:lnSpc>
                        <a:spcAft>
                          <a:spcPts val="0"/>
                        </a:spcAft>
                      </a:pPr>
                      <a:r>
                        <a:rPr lang="en-GB" sz="750" b="0" kern="1200" baseline="0" dirty="0" smtClean="0">
                          <a:solidFill>
                            <a:schemeClr val="tx1"/>
                          </a:solidFill>
                          <a:latin typeface="+mj-lt"/>
                          <a:ea typeface="+mn-ea"/>
                          <a:cs typeface="Arial" pitchFamily="34" charset="0"/>
                        </a:rPr>
                        <a:t>Engage with stakeholders to refine survey questions for 2018/19</a:t>
                      </a:r>
                      <a:endParaRPr lang="en-GB" sz="750" b="0" kern="1200" baseline="0" dirty="0">
                        <a:solidFill>
                          <a:schemeClr val="tx1"/>
                        </a:solidFill>
                        <a:latin typeface="+mj-lt"/>
                        <a:ea typeface="+mn-ea"/>
                        <a:cs typeface="Arial" pitchFamily="34" charset="0"/>
                      </a:endParaRPr>
                    </a:p>
                  </a:txBody>
                  <a:tcPr marL="65035" marR="650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sz="75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a:p>
                  </a:txBody>
                  <a:tcPr/>
                </a:tc>
                <a:tc gridSpan="2">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a:p>
                  </a:txBody>
                  <a:tcPr/>
                </a:tc>
                <a:tc gridSpan="2">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a:p>
                  </a:txBody>
                  <a:tcPr/>
                </a:tc>
                <a:tc>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050"/>
                    </a:solid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050"/>
                    </a:solidFill>
                  </a:tcPr>
                </a:tc>
                <a:extLst>
                  <a:ext uri="{0D108BD9-81ED-4DB2-BD59-A6C34878D82A}">
                    <a16:rowId xmlns:a16="http://schemas.microsoft.com/office/drawing/2014/main" val="10011"/>
                  </a:ext>
                </a:extLst>
              </a:tr>
              <a:tr h="301090">
                <a:tc>
                  <a:txBody>
                    <a:bodyPr/>
                    <a:lstStyle/>
                    <a:p>
                      <a:pPr marL="0" marR="0" lvl="0" indent="0" algn="l" defTabSz="914400" rtl="0" eaLnBrk="1" fontAlgn="auto" latinLnBrk="0" hangingPunct="1">
                        <a:lnSpc>
                          <a:spcPts val="1400"/>
                        </a:lnSpc>
                        <a:spcBef>
                          <a:spcPts val="0"/>
                        </a:spcBef>
                        <a:spcAft>
                          <a:spcPts val="0"/>
                        </a:spcAft>
                        <a:buClrTx/>
                        <a:buSzTx/>
                        <a:buFontTx/>
                        <a:buNone/>
                        <a:tabLst/>
                        <a:defRPr/>
                      </a:pPr>
                      <a:r>
                        <a:rPr lang="en-GB" sz="750" b="0" kern="1200" baseline="0" dirty="0" smtClean="0">
                          <a:solidFill>
                            <a:schemeClr val="tx1"/>
                          </a:solidFill>
                          <a:latin typeface="+mj-lt"/>
                          <a:ea typeface="+mn-ea"/>
                          <a:cs typeface="Arial" pitchFamily="34" charset="0"/>
                        </a:rPr>
                        <a:t>Follow-up with management on suggested actions</a:t>
                      </a:r>
                    </a:p>
                  </a:txBody>
                  <a:tcPr marL="65035" marR="65035"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gridSpan="2">
                  <a:txBody>
                    <a:bodyPr/>
                    <a:lstStyle/>
                    <a:p>
                      <a:endParaRPr lang="en-GB" sz="750" dirty="0"/>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a:p>
                  </a:txBody>
                  <a:tcPr/>
                </a:tc>
                <a:tc gridSpan="2">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a:p>
                  </a:txBody>
                  <a:tcPr/>
                </a:tc>
                <a:tc gridSpan="2">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hMerge="1">
                  <a:txBody>
                    <a:bodyPr/>
                    <a:lstStyle/>
                    <a:p>
                      <a:endParaRPr lang="en-GB"/>
                    </a:p>
                  </a:txBody>
                  <a:tcPr/>
                </a:tc>
                <a:tc>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endParaRPr lang="en-GB" sz="750" dirty="0">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algn="ctr"/>
                      <a:endParaRPr lang="en-GB" sz="750" dirty="0">
                        <a:solidFill>
                          <a:schemeClr val="tx2"/>
                        </a:solidFill>
                        <a:latin typeface="+mj-lt"/>
                      </a:endParaRPr>
                    </a:p>
                  </a:txBody>
                  <a:tcPr marL="36000" marR="36000" marT="36000" marB="3600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92D050"/>
                    </a:solidFill>
                  </a:tcPr>
                </a:tc>
                <a:extLst>
                  <a:ext uri="{0D108BD9-81ED-4DB2-BD59-A6C34878D82A}">
                    <a16:rowId xmlns:a16="http://schemas.microsoft.com/office/drawing/2014/main" val="10012"/>
                  </a:ext>
                </a:extLst>
              </a:tr>
            </a:tbl>
          </a:graphicData>
        </a:graphic>
      </p:graphicFrame>
      <p:sp>
        <p:nvSpPr>
          <p:cNvPr id="8" name="Footer Placeholder 7"/>
          <p:cNvSpPr>
            <a:spLocks noGrp="1"/>
          </p:cNvSpPr>
          <p:nvPr>
            <p:ph type="ftr" sz="quarter" idx="14"/>
          </p:nvPr>
        </p:nvSpPr>
        <p:spPr/>
        <p:txBody>
          <a:bodyPr/>
          <a:lstStyle/>
          <a:p>
            <a:r>
              <a:rPr lang="en-GB" dirty="0" smtClean="0"/>
              <a:t>© 2018 Deloitte LLP. Private and Confidential.</a:t>
            </a:r>
            <a:endParaRPr lang="en-GB" dirty="0"/>
          </a:p>
        </p:txBody>
      </p:sp>
    </p:spTree>
    <p:extLst>
      <p:ext uri="{BB962C8B-B14F-4D97-AF65-F5344CB8AC3E}">
        <p14:creationId xmlns:p14="http://schemas.microsoft.com/office/powerpoint/2010/main" val="33773690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ntinuous improvement</a:t>
            </a:r>
            <a:endParaRPr lang="en-GB" dirty="0"/>
          </a:p>
        </p:txBody>
      </p:sp>
      <p:sp>
        <p:nvSpPr>
          <p:cNvPr id="3" name="Text Placeholder 2"/>
          <p:cNvSpPr>
            <a:spLocks noGrp="1"/>
          </p:cNvSpPr>
          <p:nvPr>
            <p:ph type="body" sz="quarter" idx="13"/>
          </p:nvPr>
        </p:nvSpPr>
        <p:spPr/>
        <p:txBody>
          <a:bodyPr/>
          <a:lstStyle/>
          <a:p>
            <a:r>
              <a:rPr lang="en-GB" sz="1800" dirty="0"/>
              <a:t>Incorporating </a:t>
            </a:r>
            <a:r>
              <a:rPr lang="en-GB" sz="1800" dirty="0" smtClean="0"/>
              <a:t>feedback </a:t>
            </a:r>
            <a:r>
              <a:rPr lang="en-GB" sz="1800" dirty="0"/>
              <a:t>to </a:t>
            </a:r>
            <a:r>
              <a:rPr lang="en-GB" sz="1800" dirty="0" smtClean="0"/>
              <a:t>further enhance </a:t>
            </a:r>
            <a:r>
              <a:rPr lang="en-GB" sz="1800" dirty="0"/>
              <a:t>the </a:t>
            </a:r>
            <a:r>
              <a:rPr lang="en-GB" sz="1800" dirty="0" smtClean="0"/>
              <a:t>survey</a:t>
            </a:r>
            <a:endParaRPr lang="en-GB" sz="1800" dirty="0"/>
          </a:p>
          <a:p>
            <a:endParaRPr lang="en-GB" sz="1800" dirty="0"/>
          </a:p>
        </p:txBody>
      </p:sp>
      <p:sp>
        <p:nvSpPr>
          <p:cNvPr id="4" name="Content Placeholder 3"/>
          <p:cNvSpPr>
            <a:spLocks noGrp="1"/>
          </p:cNvSpPr>
          <p:nvPr>
            <p:ph idx="1"/>
          </p:nvPr>
        </p:nvSpPr>
        <p:spPr>
          <a:xfrm>
            <a:off x="373938" y="1135641"/>
            <a:ext cx="8374062" cy="4678986"/>
          </a:xfrm>
        </p:spPr>
        <p:txBody>
          <a:bodyPr/>
          <a:lstStyle/>
          <a:p>
            <a:r>
              <a:rPr lang="en-GB" dirty="0" smtClean="0"/>
              <a:t>The Departmental Assurance survey analysis and results continue to provide a valuable source of information to Internal Audit in understanding the overall control environment in place across the University. We </a:t>
            </a:r>
            <a:r>
              <a:rPr lang="en-GB" dirty="0"/>
              <a:t>continue to revise and update both the survey content and our overall approach in response to feedback received from throughout the University. </a:t>
            </a:r>
            <a:r>
              <a:rPr lang="en-GB" dirty="0" smtClean="0"/>
              <a:t> </a:t>
            </a:r>
          </a:p>
          <a:p>
            <a:pPr marL="2065338"/>
            <a:r>
              <a:rPr lang="en-GB" sz="1600" b="1" dirty="0" smtClean="0"/>
              <a:t>As part of our continuous improvement of the survey, we would like to hear your feedback</a:t>
            </a:r>
          </a:p>
          <a:p>
            <a:endParaRPr lang="en-GB" dirty="0" smtClean="0"/>
          </a:p>
          <a:p>
            <a:endParaRPr lang="en-GB" dirty="0"/>
          </a:p>
          <a:p>
            <a:endParaRPr lang="en-GB" dirty="0"/>
          </a:p>
        </p:txBody>
      </p:sp>
      <p:sp>
        <p:nvSpPr>
          <p:cNvPr id="7" name="Footer Placeholder 6"/>
          <p:cNvSpPr>
            <a:spLocks noGrp="1"/>
          </p:cNvSpPr>
          <p:nvPr>
            <p:ph type="ftr" sz="quarter" idx="14"/>
          </p:nvPr>
        </p:nvSpPr>
        <p:spPr/>
        <p:txBody>
          <a:bodyPr/>
          <a:lstStyle/>
          <a:p>
            <a:r>
              <a:rPr lang="en-GB" dirty="0" smtClean="0"/>
              <a:t>© 2018 Deloitte LLP. Private and Confidential.</a:t>
            </a:r>
            <a:endParaRPr lang="en-GB" dirty="0"/>
          </a:p>
        </p:txBody>
      </p:sp>
      <p:sp>
        <p:nvSpPr>
          <p:cNvPr id="6" name="Freeform 429"/>
          <p:cNvSpPr>
            <a:spLocks noChangeAspect="1" noEditPoints="1"/>
          </p:cNvSpPr>
          <p:nvPr/>
        </p:nvSpPr>
        <p:spPr bwMode="auto">
          <a:xfrm>
            <a:off x="5044293" y="3107665"/>
            <a:ext cx="740212" cy="740212"/>
          </a:xfrm>
          <a:custGeom>
            <a:avLst/>
            <a:gdLst>
              <a:gd name="T0" fmla="*/ 236 w 512"/>
              <a:gd name="T1" fmla="*/ 209 h 512"/>
              <a:gd name="T2" fmla="*/ 244 w 512"/>
              <a:gd name="T3" fmla="*/ 236 h 512"/>
              <a:gd name="T4" fmla="*/ 151 w 512"/>
              <a:gd name="T5" fmla="*/ 262 h 512"/>
              <a:gd name="T6" fmla="*/ 144 w 512"/>
              <a:gd name="T7" fmla="*/ 234 h 512"/>
              <a:gd name="T8" fmla="*/ 236 w 512"/>
              <a:gd name="T9" fmla="*/ 209 h 512"/>
              <a:gd name="T10" fmla="*/ 327 w 512"/>
              <a:gd name="T11" fmla="*/ 177 h 512"/>
              <a:gd name="T12" fmla="*/ 255 w 512"/>
              <a:gd name="T13" fmla="*/ 196 h 512"/>
              <a:gd name="T14" fmla="*/ 266 w 512"/>
              <a:gd name="T15" fmla="*/ 237 h 512"/>
              <a:gd name="T16" fmla="*/ 338 w 512"/>
              <a:gd name="T17" fmla="*/ 218 h 512"/>
              <a:gd name="T18" fmla="*/ 333 w 512"/>
              <a:gd name="T19" fmla="*/ 197 h 512"/>
              <a:gd name="T20" fmla="*/ 327 w 512"/>
              <a:gd name="T21" fmla="*/ 177 h 512"/>
              <a:gd name="T22" fmla="*/ 512 w 512"/>
              <a:gd name="T23" fmla="*/ 256 h 512"/>
              <a:gd name="T24" fmla="*/ 256 w 512"/>
              <a:gd name="T25" fmla="*/ 512 h 512"/>
              <a:gd name="T26" fmla="*/ 0 w 512"/>
              <a:gd name="T27" fmla="*/ 256 h 512"/>
              <a:gd name="T28" fmla="*/ 256 w 512"/>
              <a:gd name="T29" fmla="*/ 0 h 512"/>
              <a:gd name="T30" fmla="*/ 512 w 512"/>
              <a:gd name="T31" fmla="*/ 256 h 512"/>
              <a:gd name="T32" fmla="*/ 406 w 512"/>
              <a:gd name="T33" fmla="*/ 222 h 512"/>
              <a:gd name="T34" fmla="*/ 383 w 512"/>
              <a:gd name="T35" fmla="*/ 139 h 512"/>
              <a:gd name="T36" fmla="*/ 378 w 512"/>
              <a:gd name="T37" fmla="*/ 133 h 512"/>
              <a:gd name="T38" fmla="*/ 370 w 512"/>
              <a:gd name="T39" fmla="*/ 132 h 512"/>
              <a:gd name="T40" fmla="*/ 329 w 512"/>
              <a:gd name="T41" fmla="*/ 143 h 512"/>
              <a:gd name="T42" fmla="*/ 322 w 512"/>
              <a:gd name="T43" fmla="*/ 156 h 512"/>
              <a:gd name="T44" fmla="*/ 239 w 512"/>
              <a:gd name="T45" fmla="*/ 179 h 512"/>
              <a:gd name="T46" fmla="*/ 232 w 512"/>
              <a:gd name="T47" fmla="*/ 188 h 512"/>
              <a:gd name="T48" fmla="*/ 128 w 512"/>
              <a:gd name="T49" fmla="*/ 216 h 512"/>
              <a:gd name="T50" fmla="*/ 126 w 512"/>
              <a:gd name="T51" fmla="*/ 209 h 512"/>
              <a:gd name="T52" fmla="*/ 113 w 512"/>
              <a:gd name="T53" fmla="*/ 202 h 512"/>
              <a:gd name="T54" fmla="*/ 106 w 512"/>
              <a:gd name="T55" fmla="*/ 215 h 512"/>
              <a:gd name="T56" fmla="*/ 128 w 512"/>
              <a:gd name="T57" fmla="*/ 297 h 512"/>
              <a:gd name="T58" fmla="*/ 138 w 512"/>
              <a:gd name="T59" fmla="*/ 305 h 512"/>
              <a:gd name="T60" fmla="*/ 141 w 512"/>
              <a:gd name="T61" fmla="*/ 305 h 512"/>
              <a:gd name="T62" fmla="*/ 149 w 512"/>
              <a:gd name="T63" fmla="*/ 292 h 512"/>
              <a:gd name="T64" fmla="*/ 147 w 512"/>
              <a:gd name="T65" fmla="*/ 285 h 512"/>
              <a:gd name="T66" fmla="*/ 243 w 512"/>
              <a:gd name="T67" fmla="*/ 259 h 512"/>
              <a:gd name="T68" fmla="*/ 192 w 512"/>
              <a:gd name="T69" fmla="*/ 401 h 512"/>
              <a:gd name="T70" fmla="*/ 199 w 512"/>
              <a:gd name="T71" fmla="*/ 415 h 512"/>
              <a:gd name="T72" fmla="*/ 202 w 512"/>
              <a:gd name="T73" fmla="*/ 416 h 512"/>
              <a:gd name="T74" fmla="*/ 212 w 512"/>
              <a:gd name="T75" fmla="*/ 409 h 512"/>
              <a:gd name="T76" fmla="*/ 245 w 512"/>
              <a:gd name="T77" fmla="*/ 317 h 512"/>
              <a:gd name="T78" fmla="*/ 245 w 512"/>
              <a:gd name="T79" fmla="*/ 405 h 512"/>
              <a:gd name="T80" fmla="*/ 256 w 512"/>
              <a:gd name="T81" fmla="*/ 416 h 512"/>
              <a:gd name="T82" fmla="*/ 266 w 512"/>
              <a:gd name="T83" fmla="*/ 405 h 512"/>
              <a:gd name="T84" fmla="*/ 266 w 512"/>
              <a:gd name="T85" fmla="*/ 317 h 512"/>
              <a:gd name="T86" fmla="*/ 299 w 512"/>
              <a:gd name="T87" fmla="*/ 409 h 512"/>
              <a:gd name="T88" fmla="*/ 309 w 512"/>
              <a:gd name="T89" fmla="*/ 416 h 512"/>
              <a:gd name="T90" fmla="*/ 313 w 512"/>
              <a:gd name="T91" fmla="*/ 415 h 512"/>
              <a:gd name="T92" fmla="*/ 319 w 512"/>
              <a:gd name="T93" fmla="*/ 401 h 512"/>
              <a:gd name="T94" fmla="*/ 268 w 512"/>
              <a:gd name="T95" fmla="*/ 259 h 512"/>
              <a:gd name="T96" fmla="*/ 344 w 512"/>
              <a:gd name="T97" fmla="*/ 238 h 512"/>
              <a:gd name="T98" fmla="*/ 344 w 512"/>
              <a:gd name="T99" fmla="*/ 238 h 512"/>
              <a:gd name="T100" fmla="*/ 354 w 512"/>
              <a:gd name="T101" fmla="*/ 246 h 512"/>
              <a:gd name="T102" fmla="*/ 357 w 512"/>
              <a:gd name="T103" fmla="*/ 246 h 512"/>
              <a:gd name="T104" fmla="*/ 398 w 512"/>
              <a:gd name="T105" fmla="*/ 235 h 512"/>
              <a:gd name="T106" fmla="*/ 405 w 512"/>
              <a:gd name="T107" fmla="*/ 230 h 512"/>
              <a:gd name="T108" fmla="*/ 406 w 512"/>
              <a:gd name="T109" fmla="*/ 222 h 512"/>
              <a:gd name="T110" fmla="*/ 345 w 512"/>
              <a:gd name="T111" fmla="*/ 161 h 512"/>
              <a:gd name="T112" fmla="*/ 362 w 512"/>
              <a:gd name="T113" fmla="*/ 222 h 512"/>
              <a:gd name="T114" fmla="*/ 382 w 512"/>
              <a:gd name="T115" fmla="*/ 217 h 512"/>
              <a:gd name="T116" fmla="*/ 366 w 512"/>
              <a:gd name="T117" fmla="*/ 155 h 512"/>
              <a:gd name="T118" fmla="*/ 345 w 512"/>
              <a:gd name="T119" fmla="*/ 1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12" h="512">
                <a:moveTo>
                  <a:pt x="236" y="209"/>
                </a:moveTo>
                <a:cubicBezTo>
                  <a:pt x="244" y="236"/>
                  <a:pt x="244" y="236"/>
                  <a:pt x="244" y="236"/>
                </a:cubicBezTo>
                <a:cubicBezTo>
                  <a:pt x="151" y="262"/>
                  <a:pt x="151" y="262"/>
                  <a:pt x="151" y="262"/>
                </a:cubicBezTo>
                <a:cubicBezTo>
                  <a:pt x="144" y="234"/>
                  <a:pt x="144" y="234"/>
                  <a:pt x="144" y="234"/>
                </a:cubicBezTo>
                <a:lnTo>
                  <a:pt x="236" y="209"/>
                </a:lnTo>
                <a:close/>
                <a:moveTo>
                  <a:pt x="327" y="177"/>
                </a:moveTo>
                <a:cubicBezTo>
                  <a:pt x="255" y="196"/>
                  <a:pt x="255" y="196"/>
                  <a:pt x="255" y="196"/>
                </a:cubicBezTo>
                <a:cubicBezTo>
                  <a:pt x="266" y="237"/>
                  <a:pt x="266" y="237"/>
                  <a:pt x="266" y="237"/>
                </a:cubicBezTo>
                <a:cubicBezTo>
                  <a:pt x="338" y="218"/>
                  <a:pt x="338" y="218"/>
                  <a:pt x="338" y="218"/>
                </a:cubicBezTo>
                <a:cubicBezTo>
                  <a:pt x="333" y="197"/>
                  <a:pt x="333" y="197"/>
                  <a:pt x="333" y="197"/>
                </a:cubicBezTo>
                <a:lnTo>
                  <a:pt x="327" y="177"/>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6" y="222"/>
                </a:moveTo>
                <a:cubicBezTo>
                  <a:pt x="383" y="139"/>
                  <a:pt x="383" y="139"/>
                  <a:pt x="383" y="139"/>
                </a:cubicBezTo>
                <a:cubicBezTo>
                  <a:pt x="383" y="136"/>
                  <a:pt x="381" y="134"/>
                  <a:pt x="378" y="133"/>
                </a:cubicBezTo>
                <a:cubicBezTo>
                  <a:pt x="376" y="131"/>
                  <a:pt x="373" y="131"/>
                  <a:pt x="370" y="132"/>
                </a:cubicBezTo>
                <a:cubicBezTo>
                  <a:pt x="329" y="143"/>
                  <a:pt x="329" y="143"/>
                  <a:pt x="329" y="143"/>
                </a:cubicBezTo>
                <a:cubicBezTo>
                  <a:pt x="323" y="145"/>
                  <a:pt x="320" y="150"/>
                  <a:pt x="322" y="156"/>
                </a:cubicBezTo>
                <a:cubicBezTo>
                  <a:pt x="239" y="179"/>
                  <a:pt x="239" y="179"/>
                  <a:pt x="239" y="179"/>
                </a:cubicBezTo>
                <a:cubicBezTo>
                  <a:pt x="235" y="180"/>
                  <a:pt x="232" y="184"/>
                  <a:pt x="232" y="188"/>
                </a:cubicBezTo>
                <a:cubicBezTo>
                  <a:pt x="128" y="216"/>
                  <a:pt x="128" y="216"/>
                  <a:pt x="128" y="216"/>
                </a:cubicBezTo>
                <a:cubicBezTo>
                  <a:pt x="126" y="209"/>
                  <a:pt x="126" y="209"/>
                  <a:pt x="126" y="209"/>
                </a:cubicBezTo>
                <a:cubicBezTo>
                  <a:pt x="125" y="204"/>
                  <a:pt x="119" y="200"/>
                  <a:pt x="113" y="202"/>
                </a:cubicBezTo>
                <a:cubicBezTo>
                  <a:pt x="107" y="204"/>
                  <a:pt x="104" y="209"/>
                  <a:pt x="106" y="215"/>
                </a:cubicBezTo>
                <a:cubicBezTo>
                  <a:pt x="128" y="297"/>
                  <a:pt x="128" y="297"/>
                  <a:pt x="128" y="297"/>
                </a:cubicBezTo>
                <a:cubicBezTo>
                  <a:pt x="129" y="302"/>
                  <a:pt x="134" y="305"/>
                  <a:pt x="138" y="305"/>
                </a:cubicBezTo>
                <a:cubicBezTo>
                  <a:pt x="139" y="305"/>
                  <a:pt x="140" y="305"/>
                  <a:pt x="141" y="305"/>
                </a:cubicBezTo>
                <a:cubicBezTo>
                  <a:pt x="147" y="303"/>
                  <a:pt x="150" y="298"/>
                  <a:pt x="149" y="292"/>
                </a:cubicBezTo>
                <a:cubicBezTo>
                  <a:pt x="147" y="285"/>
                  <a:pt x="147" y="285"/>
                  <a:pt x="147" y="285"/>
                </a:cubicBezTo>
                <a:cubicBezTo>
                  <a:pt x="243" y="259"/>
                  <a:pt x="243" y="259"/>
                  <a:pt x="243" y="259"/>
                </a:cubicBezTo>
                <a:cubicBezTo>
                  <a:pt x="192" y="401"/>
                  <a:pt x="192" y="401"/>
                  <a:pt x="192" y="401"/>
                </a:cubicBezTo>
                <a:cubicBezTo>
                  <a:pt x="190" y="407"/>
                  <a:pt x="193" y="413"/>
                  <a:pt x="199" y="415"/>
                </a:cubicBezTo>
                <a:cubicBezTo>
                  <a:pt x="200" y="415"/>
                  <a:pt x="201" y="416"/>
                  <a:pt x="202" y="416"/>
                </a:cubicBezTo>
                <a:cubicBezTo>
                  <a:pt x="207" y="416"/>
                  <a:pt x="211" y="413"/>
                  <a:pt x="212" y="409"/>
                </a:cubicBezTo>
                <a:cubicBezTo>
                  <a:pt x="245" y="317"/>
                  <a:pt x="245" y="317"/>
                  <a:pt x="245" y="317"/>
                </a:cubicBezTo>
                <a:cubicBezTo>
                  <a:pt x="245" y="405"/>
                  <a:pt x="245" y="405"/>
                  <a:pt x="245" y="405"/>
                </a:cubicBezTo>
                <a:cubicBezTo>
                  <a:pt x="245" y="411"/>
                  <a:pt x="250" y="416"/>
                  <a:pt x="256" y="416"/>
                </a:cubicBezTo>
                <a:cubicBezTo>
                  <a:pt x="262" y="416"/>
                  <a:pt x="266" y="411"/>
                  <a:pt x="266" y="405"/>
                </a:cubicBezTo>
                <a:cubicBezTo>
                  <a:pt x="266" y="317"/>
                  <a:pt x="266" y="317"/>
                  <a:pt x="266" y="317"/>
                </a:cubicBezTo>
                <a:cubicBezTo>
                  <a:pt x="299" y="409"/>
                  <a:pt x="299" y="409"/>
                  <a:pt x="299" y="409"/>
                </a:cubicBezTo>
                <a:cubicBezTo>
                  <a:pt x="301" y="413"/>
                  <a:pt x="305" y="416"/>
                  <a:pt x="309" y="416"/>
                </a:cubicBezTo>
                <a:cubicBezTo>
                  <a:pt x="310" y="416"/>
                  <a:pt x="311" y="415"/>
                  <a:pt x="313" y="415"/>
                </a:cubicBezTo>
                <a:cubicBezTo>
                  <a:pt x="318" y="413"/>
                  <a:pt x="321" y="407"/>
                  <a:pt x="319" y="401"/>
                </a:cubicBezTo>
                <a:cubicBezTo>
                  <a:pt x="268" y="259"/>
                  <a:pt x="268" y="259"/>
                  <a:pt x="268" y="259"/>
                </a:cubicBezTo>
                <a:cubicBezTo>
                  <a:pt x="344" y="238"/>
                  <a:pt x="344" y="238"/>
                  <a:pt x="344" y="238"/>
                </a:cubicBezTo>
                <a:cubicBezTo>
                  <a:pt x="344" y="238"/>
                  <a:pt x="344" y="238"/>
                  <a:pt x="344" y="238"/>
                </a:cubicBezTo>
                <a:cubicBezTo>
                  <a:pt x="345" y="243"/>
                  <a:pt x="350" y="246"/>
                  <a:pt x="354" y="246"/>
                </a:cubicBezTo>
                <a:cubicBezTo>
                  <a:pt x="355" y="246"/>
                  <a:pt x="356" y="246"/>
                  <a:pt x="357" y="246"/>
                </a:cubicBezTo>
                <a:cubicBezTo>
                  <a:pt x="398" y="235"/>
                  <a:pt x="398" y="235"/>
                  <a:pt x="398" y="235"/>
                </a:cubicBezTo>
                <a:cubicBezTo>
                  <a:pt x="401" y="234"/>
                  <a:pt x="403" y="232"/>
                  <a:pt x="405" y="230"/>
                </a:cubicBezTo>
                <a:cubicBezTo>
                  <a:pt x="406" y="227"/>
                  <a:pt x="407" y="224"/>
                  <a:pt x="406" y="222"/>
                </a:cubicBezTo>
                <a:close/>
                <a:moveTo>
                  <a:pt x="345" y="161"/>
                </a:moveTo>
                <a:cubicBezTo>
                  <a:pt x="362" y="222"/>
                  <a:pt x="362" y="222"/>
                  <a:pt x="362" y="222"/>
                </a:cubicBezTo>
                <a:cubicBezTo>
                  <a:pt x="382" y="217"/>
                  <a:pt x="382" y="217"/>
                  <a:pt x="382" y="217"/>
                </a:cubicBezTo>
                <a:cubicBezTo>
                  <a:pt x="366" y="155"/>
                  <a:pt x="366" y="155"/>
                  <a:pt x="366" y="155"/>
                </a:cubicBezTo>
                <a:lnTo>
                  <a:pt x="345" y="161"/>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8" name="Freeform 1011"/>
          <p:cNvSpPr>
            <a:spLocks noChangeAspect="1" noEditPoints="1"/>
          </p:cNvSpPr>
          <p:nvPr/>
        </p:nvSpPr>
        <p:spPr bwMode="auto">
          <a:xfrm>
            <a:off x="917827" y="3107665"/>
            <a:ext cx="734937" cy="734937"/>
          </a:xfrm>
          <a:custGeom>
            <a:avLst/>
            <a:gdLst>
              <a:gd name="T0" fmla="*/ 211 w 512"/>
              <a:gd name="T1" fmla="*/ 285 h 512"/>
              <a:gd name="T2" fmla="*/ 185 w 512"/>
              <a:gd name="T3" fmla="*/ 311 h 512"/>
              <a:gd name="T4" fmla="*/ 121 w 512"/>
              <a:gd name="T5" fmla="*/ 256 h 512"/>
              <a:gd name="T6" fmla="*/ 257 w 512"/>
              <a:gd name="T7" fmla="*/ 181 h 512"/>
              <a:gd name="T8" fmla="*/ 306 w 512"/>
              <a:gd name="T9" fmla="*/ 190 h 512"/>
              <a:gd name="T10" fmla="*/ 285 w 512"/>
              <a:gd name="T11" fmla="*/ 211 h 512"/>
              <a:gd name="T12" fmla="*/ 256 w 512"/>
              <a:gd name="T13" fmla="*/ 202 h 512"/>
              <a:gd name="T14" fmla="*/ 202 w 512"/>
              <a:gd name="T15" fmla="*/ 256 h 512"/>
              <a:gd name="T16" fmla="*/ 211 w 512"/>
              <a:gd name="T17" fmla="*/ 285 h 512"/>
              <a:gd name="T18" fmla="*/ 224 w 512"/>
              <a:gd name="T19" fmla="*/ 256 h 512"/>
              <a:gd name="T20" fmla="*/ 227 w 512"/>
              <a:gd name="T21" fmla="*/ 269 h 512"/>
              <a:gd name="T22" fmla="*/ 269 w 512"/>
              <a:gd name="T23" fmla="*/ 227 h 512"/>
              <a:gd name="T24" fmla="*/ 256 w 512"/>
              <a:gd name="T25" fmla="*/ 224 h 512"/>
              <a:gd name="T26" fmla="*/ 224 w 512"/>
              <a:gd name="T27" fmla="*/ 256 h 512"/>
              <a:gd name="T28" fmla="*/ 288 w 512"/>
              <a:gd name="T29" fmla="*/ 256 h 512"/>
              <a:gd name="T30" fmla="*/ 284 w 512"/>
              <a:gd name="T31" fmla="*/ 242 h 512"/>
              <a:gd name="T32" fmla="*/ 242 w 512"/>
              <a:gd name="T33" fmla="*/ 284 h 512"/>
              <a:gd name="T34" fmla="*/ 256 w 512"/>
              <a:gd name="T35" fmla="*/ 288 h 512"/>
              <a:gd name="T36" fmla="*/ 288 w 512"/>
              <a:gd name="T37" fmla="*/ 256 h 512"/>
              <a:gd name="T38" fmla="*/ 327 w 512"/>
              <a:gd name="T39" fmla="*/ 199 h 512"/>
              <a:gd name="T40" fmla="*/ 300 w 512"/>
              <a:gd name="T41" fmla="*/ 226 h 512"/>
              <a:gd name="T42" fmla="*/ 309 w 512"/>
              <a:gd name="T43" fmla="*/ 256 h 512"/>
              <a:gd name="T44" fmla="*/ 256 w 512"/>
              <a:gd name="T45" fmla="*/ 309 h 512"/>
              <a:gd name="T46" fmla="*/ 226 w 512"/>
              <a:gd name="T47" fmla="*/ 300 h 512"/>
              <a:gd name="T48" fmla="*/ 206 w 512"/>
              <a:gd name="T49" fmla="*/ 321 h 512"/>
              <a:gd name="T50" fmla="*/ 257 w 512"/>
              <a:gd name="T51" fmla="*/ 330 h 512"/>
              <a:gd name="T52" fmla="*/ 392 w 512"/>
              <a:gd name="T53" fmla="*/ 256 h 512"/>
              <a:gd name="T54" fmla="*/ 327 w 512"/>
              <a:gd name="T55" fmla="*/ 199 h 512"/>
              <a:gd name="T56" fmla="*/ 512 w 512"/>
              <a:gd name="T57" fmla="*/ 256 h 512"/>
              <a:gd name="T58" fmla="*/ 256 w 512"/>
              <a:gd name="T59" fmla="*/ 512 h 512"/>
              <a:gd name="T60" fmla="*/ 0 w 512"/>
              <a:gd name="T61" fmla="*/ 256 h 512"/>
              <a:gd name="T62" fmla="*/ 256 w 512"/>
              <a:gd name="T63" fmla="*/ 0 h 512"/>
              <a:gd name="T64" fmla="*/ 512 w 512"/>
              <a:gd name="T65" fmla="*/ 256 h 512"/>
              <a:gd name="T66" fmla="*/ 415 w 512"/>
              <a:gd name="T67" fmla="*/ 255 h 512"/>
              <a:gd name="T68" fmla="*/ 414 w 512"/>
              <a:gd name="T69" fmla="*/ 250 h 512"/>
              <a:gd name="T70" fmla="*/ 343 w 512"/>
              <a:gd name="T71" fmla="*/ 184 h 512"/>
              <a:gd name="T72" fmla="*/ 381 w 512"/>
              <a:gd name="T73" fmla="*/ 146 h 512"/>
              <a:gd name="T74" fmla="*/ 381 w 512"/>
              <a:gd name="T75" fmla="*/ 131 h 512"/>
              <a:gd name="T76" fmla="*/ 365 w 512"/>
              <a:gd name="T77" fmla="*/ 131 h 512"/>
              <a:gd name="T78" fmla="*/ 323 w 512"/>
              <a:gd name="T79" fmla="*/ 174 h 512"/>
              <a:gd name="T80" fmla="*/ 257 w 512"/>
              <a:gd name="T81" fmla="*/ 160 h 512"/>
              <a:gd name="T82" fmla="*/ 99 w 512"/>
              <a:gd name="T83" fmla="*/ 249 h 512"/>
              <a:gd name="T84" fmla="*/ 98 w 512"/>
              <a:gd name="T85" fmla="*/ 256 h 512"/>
              <a:gd name="T86" fmla="*/ 99 w 512"/>
              <a:gd name="T87" fmla="*/ 261 h 512"/>
              <a:gd name="T88" fmla="*/ 169 w 512"/>
              <a:gd name="T89" fmla="*/ 327 h 512"/>
              <a:gd name="T90" fmla="*/ 131 w 512"/>
              <a:gd name="T91" fmla="*/ 365 h 512"/>
              <a:gd name="T92" fmla="*/ 131 w 512"/>
              <a:gd name="T93" fmla="*/ 381 h 512"/>
              <a:gd name="T94" fmla="*/ 138 w 512"/>
              <a:gd name="T95" fmla="*/ 384 h 512"/>
              <a:gd name="T96" fmla="*/ 146 w 512"/>
              <a:gd name="T97" fmla="*/ 381 h 512"/>
              <a:gd name="T98" fmla="*/ 189 w 512"/>
              <a:gd name="T99" fmla="*/ 337 h 512"/>
              <a:gd name="T100" fmla="*/ 257 w 512"/>
              <a:gd name="T101" fmla="*/ 352 h 512"/>
              <a:gd name="T102" fmla="*/ 414 w 512"/>
              <a:gd name="T103" fmla="*/ 262 h 512"/>
              <a:gd name="T104" fmla="*/ 415 w 512"/>
              <a:gd name="T105" fmla="*/ 25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11" y="285"/>
                </a:moveTo>
                <a:cubicBezTo>
                  <a:pt x="185" y="311"/>
                  <a:pt x="185" y="311"/>
                  <a:pt x="185" y="311"/>
                </a:cubicBezTo>
                <a:cubicBezTo>
                  <a:pt x="156" y="296"/>
                  <a:pt x="134" y="273"/>
                  <a:pt x="121" y="256"/>
                </a:cubicBezTo>
                <a:cubicBezTo>
                  <a:pt x="148" y="218"/>
                  <a:pt x="197" y="181"/>
                  <a:pt x="257" y="181"/>
                </a:cubicBezTo>
                <a:cubicBezTo>
                  <a:pt x="274" y="181"/>
                  <a:pt x="291" y="184"/>
                  <a:pt x="306" y="190"/>
                </a:cubicBezTo>
                <a:cubicBezTo>
                  <a:pt x="285" y="211"/>
                  <a:pt x="285" y="211"/>
                  <a:pt x="285" y="211"/>
                </a:cubicBezTo>
                <a:cubicBezTo>
                  <a:pt x="277" y="206"/>
                  <a:pt x="267" y="202"/>
                  <a:pt x="256" y="202"/>
                </a:cubicBezTo>
                <a:cubicBezTo>
                  <a:pt x="226" y="202"/>
                  <a:pt x="202" y="226"/>
                  <a:pt x="202" y="256"/>
                </a:cubicBezTo>
                <a:cubicBezTo>
                  <a:pt x="202" y="267"/>
                  <a:pt x="206" y="277"/>
                  <a:pt x="211" y="285"/>
                </a:cubicBezTo>
                <a:close/>
                <a:moveTo>
                  <a:pt x="224" y="256"/>
                </a:moveTo>
                <a:cubicBezTo>
                  <a:pt x="224" y="261"/>
                  <a:pt x="225" y="265"/>
                  <a:pt x="227" y="269"/>
                </a:cubicBezTo>
                <a:cubicBezTo>
                  <a:pt x="269" y="227"/>
                  <a:pt x="269" y="227"/>
                  <a:pt x="269" y="227"/>
                </a:cubicBezTo>
                <a:cubicBezTo>
                  <a:pt x="265" y="225"/>
                  <a:pt x="261" y="224"/>
                  <a:pt x="256" y="224"/>
                </a:cubicBezTo>
                <a:cubicBezTo>
                  <a:pt x="238" y="224"/>
                  <a:pt x="224" y="238"/>
                  <a:pt x="224" y="256"/>
                </a:cubicBezTo>
                <a:close/>
                <a:moveTo>
                  <a:pt x="288" y="256"/>
                </a:moveTo>
                <a:cubicBezTo>
                  <a:pt x="288" y="251"/>
                  <a:pt x="286" y="246"/>
                  <a:pt x="284" y="242"/>
                </a:cubicBezTo>
                <a:cubicBezTo>
                  <a:pt x="242" y="284"/>
                  <a:pt x="242" y="284"/>
                  <a:pt x="242" y="284"/>
                </a:cubicBezTo>
                <a:cubicBezTo>
                  <a:pt x="246" y="286"/>
                  <a:pt x="251" y="288"/>
                  <a:pt x="256" y="288"/>
                </a:cubicBezTo>
                <a:cubicBezTo>
                  <a:pt x="273" y="288"/>
                  <a:pt x="288" y="273"/>
                  <a:pt x="288" y="256"/>
                </a:cubicBezTo>
                <a:close/>
                <a:moveTo>
                  <a:pt x="327" y="199"/>
                </a:moveTo>
                <a:cubicBezTo>
                  <a:pt x="300" y="226"/>
                  <a:pt x="300" y="226"/>
                  <a:pt x="300" y="226"/>
                </a:cubicBezTo>
                <a:cubicBezTo>
                  <a:pt x="306" y="235"/>
                  <a:pt x="309" y="245"/>
                  <a:pt x="309" y="256"/>
                </a:cubicBezTo>
                <a:cubicBezTo>
                  <a:pt x="309" y="285"/>
                  <a:pt x="285" y="309"/>
                  <a:pt x="256" y="309"/>
                </a:cubicBezTo>
                <a:cubicBezTo>
                  <a:pt x="245" y="309"/>
                  <a:pt x="235" y="306"/>
                  <a:pt x="226" y="300"/>
                </a:cubicBezTo>
                <a:cubicBezTo>
                  <a:pt x="206" y="321"/>
                  <a:pt x="206" y="321"/>
                  <a:pt x="206" y="321"/>
                </a:cubicBezTo>
                <a:cubicBezTo>
                  <a:pt x="221" y="327"/>
                  <a:pt x="238" y="330"/>
                  <a:pt x="257" y="330"/>
                </a:cubicBezTo>
                <a:cubicBezTo>
                  <a:pt x="316" y="330"/>
                  <a:pt x="365" y="293"/>
                  <a:pt x="392" y="256"/>
                </a:cubicBezTo>
                <a:cubicBezTo>
                  <a:pt x="379" y="238"/>
                  <a:pt x="357" y="215"/>
                  <a:pt x="327" y="199"/>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55"/>
                </a:moveTo>
                <a:cubicBezTo>
                  <a:pt x="415" y="254"/>
                  <a:pt x="415" y="252"/>
                  <a:pt x="414" y="250"/>
                </a:cubicBezTo>
                <a:cubicBezTo>
                  <a:pt x="401" y="230"/>
                  <a:pt x="376" y="203"/>
                  <a:pt x="343" y="184"/>
                </a:cubicBezTo>
                <a:cubicBezTo>
                  <a:pt x="381" y="146"/>
                  <a:pt x="381" y="146"/>
                  <a:pt x="381" y="146"/>
                </a:cubicBezTo>
                <a:cubicBezTo>
                  <a:pt x="385" y="142"/>
                  <a:pt x="385" y="135"/>
                  <a:pt x="381" y="131"/>
                </a:cubicBezTo>
                <a:cubicBezTo>
                  <a:pt x="376" y="127"/>
                  <a:pt x="370" y="127"/>
                  <a:pt x="365" y="131"/>
                </a:cubicBezTo>
                <a:cubicBezTo>
                  <a:pt x="323" y="174"/>
                  <a:pt x="323" y="174"/>
                  <a:pt x="323" y="174"/>
                </a:cubicBezTo>
                <a:cubicBezTo>
                  <a:pt x="303" y="165"/>
                  <a:pt x="281" y="160"/>
                  <a:pt x="257" y="160"/>
                </a:cubicBezTo>
                <a:cubicBezTo>
                  <a:pt x="186" y="160"/>
                  <a:pt x="129" y="206"/>
                  <a:pt x="99" y="249"/>
                </a:cubicBezTo>
                <a:cubicBezTo>
                  <a:pt x="98" y="251"/>
                  <a:pt x="98" y="254"/>
                  <a:pt x="98" y="256"/>
                </a:cubicBezTo>
                <a:cubicBezTo>
                  <a:pt x="98" y="258"/>
                  <a:pt x="98" y="260"/>
                  <a:pt x="99" y="261"/>
                </a:cubicBezTo>
                <a:cubicBezTo>
                  <a:pt x="112" y="281"/>
                  <a:pt x="136" y="308"/>
                  <a:pt x="169" y="327"/>
                </a:cubicBezTo>
                <a:cubicBezTo>
                  <a:pt x="131" y="365"/>
                  <a:pt x="131" y="365"/>
                  <a:pt x="131" y="365"/>
                </a:cubicBezTo>
                <a:cubicBezTo>
                  <a:pt x="127" y="370"/>
                  <a:pt x="127" y="376"/>
                  <a:pt x="131" y="381"/>
                </a:cubicBezTo>
                <a:cubicBezTo>
                  <a:pt x="133" y="383"/>
                  <a:pt x="136" y="384"/>
                  <a:pt x="138" y="384"/>
                </a:cubicBezTo>
                <a:cubicBezTo>
                  <a:pt x="141" y="384"/>
                  <a:pt x="144" y="383"/>
                  <a:pt x="146" y="381"/>
                </a:cubicBezTo>
                <a:cubicBezTo>
                  <a:pt x="189" y="337"/>
                  <a:pt x="189" y="337"/>
                  <a:pt x="189" y="337"/>
                </a:cubicBezTo>
                <a:cubicBezTo>
                  <a:pt x="209" y="346"/>
                  <a:pt x="232" y="352"/>
                  <a:pt x="257" y="352"/>
                </a:cubicBezTo>
                <a:cubicBezTo>
                  <a:pt x="327" y="352"/>
                  <a:pt x="384" y="305"/>
                  <a:pt x="414" y="262"/>
                </a:cubicBezTo>
                <a:cubicBezTo>
                  <a:pt x="415" y="260"/>
                  <a:pt x="416" y="258"/>
                  <a:pt x="415" y="255"/>
                </a:cubicBez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 name="Freeform 867"/>
          <p:cNvSpPr>
            <a:spLocks noChangeAspect="1" noEditPoints="1"/>
          </p:cNvSpPr>
          <p:nvPr/>
        </p:nvSpPr>
        <p:spPr bwMode="auto">
          <a:xfrm>
            <a:off x="5042346" y="4786001"/>
            <a:ext cx="738284" cy="738284"/>
          </a:xfrm>
          <a:custGeom>
            <a:avLst/>
            <a:gdLst>
              <a:gd name="T0" fmla="*/ 138 w 512"/>
              <a:gd name="T1" fmla="*/ 138 h 512"/>
              <a:gd name="T2" fmla="*/ 373 w 512"/>
              <a:gd name="T3" fmla="*/ 138 h 512"/>
              <a:gd name="T4" fmla="*/ 373 w 512"/>
              <a:gd name="T5" fmla="*/ 309 h 512"/>
              <a:gd name="T6" fmla="*/ 138 w 512"/>
              <a:gd name="T7" fmla="*/ 309 h 512"/>
              <a:gd name="T8" fmla="*/ 138 w 512"/>
              <a:gd name="T9" fmla="*/ 138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94 w 512"/>
              <a:gd name="T21" fmla="*/ 128 h 512"/>
              <a:gd name="T22" fmla="*/ 384 w 512"/>
              <a:gd name="T23" fmla="*/ 117 h 512"/>
              <a:gd name="T24" fmla="*/ 266 w 512"/>
              <a:gd name="T25" fmla="*/ 117 h 512"/>
              <a:gd name="T26" fmla="*/ 256 w 512"/>
              <a:gd name="T27" fmla="*/ 106 h 512"/>
              <a:gd name="T28" fmla="*/ 245 w 512"/>
              <a:gd name="T29" fmla="*/ 117 h 512"/>
              <a:gd name="T30" fmla="*/ 128 w 512"/>
              <a:gd name="T31" fmla="*/ 117 h 512"/>
              <a:gd name="T32" fmla="*/ 117 w 512"/>
              <a:gd name="T33" fmla="*/ 128 h 512"/>
              <a:gd name="T34" fmla="*/ 117 w 512"/>
              <a:gd name="T35" fmla="*/ 320 h 512"/>
              <a:gd name="T36" fmla="*/ 128 w 512"/>
              <a:gd name="T37" fmla="*/ 330 h 512"/>
              <a:gd name="T38" fmla="*/ 198 w 512"/>
              <a:gd name="T39" fmla="*/ 330 h 512"/>
              <a:gd name="T40" fmla="*/ 171 w 512"/>
              <a:gd name="T41" fmla="*/ 401 h 512"/>
              <a:gd name="T42" fmla="*/ 177 w 512"/>
              <a:gd name="T43" fmla="*/ 415 h 512"/>
              <a:gd name="T44" fmla="*/ 181 w 512"/>
              <a:gd name="T45" fmla="*/ 416 h 512"/>
              <a:gd name="T46" fmla="*/ 191 w 512"/>
              <a:gd name="T47" fmla="*/ 409 h 512"/>
              <a:gd name="T48" fmla="*/ 220 w 512"/>
              <a:gd name="T49" fmla="*/ 330 h 512"/>
              <a:gd name="T50" fmla="*/ 245 w 512"/>
              <a:gd name="T51" fmla="*/ 330 h 512"/>
              <a:gd name="T52" fmla="*/ 245 w 512"/>
              <a:gd name="T53" fmla="*/ 373 h 512"/>
              <a:gd name="T54" fmla="*/ 256 w 512"/>
              <a:gd name="T55" fmla="*/ 384 h 512"/>
              <a:gd name="T56" fmla="*/ 266 w 512"/>
              <a:gd name="T57" fmla="*/ 373 h 512"/>
              <a:gd name="T58" fmla="*/ 266 w 512"/>
              <a:gd name="T59" fmla="*/ 330 h 512"/>
              <a:gd name="T60" fmla="*/ 291 w 512"/>
              <a:gd name="T61" fmla="*/ 330 h 512"/>
              <a:gd name="T62" fmla="*/ 320 w 512"/>
              <a:gd name="T63" fmla="*/ 409 h 512"/>
              <a:gd name="T64" fmla="*/ 330 w 512"/>
              <a:gd name="T65" fmla="*/ 416 h 512"/>
              <a:gd name="T66" fmla="*/ 334 w 512"/>
              <a:gd name="T67" fmla="*/ 415 h 512"/>
              <a:gd name="T68" fmla="*/ 340 w 512"/>
              <a:gd name="T69" fmla="*/ 401 h 512"/>
              <a:gd name="T70" fmla="*/ 314 w 512"/>
              <a:gd name="T71" fmla="*/ 330 h 512"/>
              <a:gd name="T72" fmla="*/ 384 w 512"/>
              <a:gd name="T73" fmla="*/ 330 h 512"/>
              <a:gd name="T74" fmla="*/ 394 w 512"/>
              <a:gd name="T75" fmla="*/ 320 h 512"/>
              <a:gd name="T76" fmla="*/ 394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138" y="138"/>
                </a:moveTo>
                <a:cubicBezTo>
                  <a:pt x="373" y="138"/>
                  <a:pt x="373" y="138"/>
                  <a:pt x="373" y="138"/>
                </a:cubicBezTo>
                <a:cubicBezTo>
                  <a:pt x="373" y="309"/>
                  <a:pt x="373" y="309"/>
                  <a:pt x="373" y="309"/>
                </a:cubicBezTo>
                <a:cubicBezTo>
                  <a:pt x="138" y="309"/>
                  <a:pt x="138" y="309"/>
                  <a:pt x="138" y="309"/>
                </a:cubicBezTo>
                <a:lnTo>
                  <a:pt x="138" y="13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28"/>
                </a:moveTo>
                <a:cubicBezTo>
                  <a:pt x="394" y="122"/>
                  <a:pt x="390" y="117"/>
                  <a:pt x="384" y="117"/>
                </a:cubicBezTo>
                <a:cubicBezTo>
                  <a:pt x="266" y="117"/>
                  <a:pt x="266" y="117"/>
                  <a:pt x="266" y="117"/>
                </a:cubicBezTo>
                <a:cubicBezTo>
                  <a:pt x="266" y="111"/>
                  <a:pt x="262" y="106"/>
                  <a:pt x="256" y="106"/>
                </a:cubicBezTo>
                <a:cubicBezTo>
                  <a:pt x="250" y="106"/>
                  <a:pt x="245" y="111"/>
                  <a:pt x="245" y="117"/>
                </a:cubicBezTo>
                <a:cubicBezTo>
                  <a:pt x="128" y="117"/>
                  <a:pt x="128" y="117"/>
                  <a:pt x="128" y="117"/>
                </a:cubicBezTo>
                <a:cubicBezTo>
                  <a:pt x="122" y="117"/>
                  <a:pt x="117" y="122"/>
                  <a:pt x="117" y="128"/>
                </a:cubicBezTo>
                <a:cubicBezTo>
                  <a:pt x="117" y="320"/>
                  <a:pt x="117" y="320"/>
                  <a:pt x="117" y="320"/>
                </a:cubicBezTo>
                <a:cubicBezTo>
                  <a:pt x="117" y="326"/>
                  <a:pt x="122" y="330"/>
                  <a:pt x="128" y="330"/>
                </a:cubicBezTo>
                <a:cubicBezTo>
                  <a:pt x="198" y="330"/>
                  <a:pt x="198" y="330"/>
                  <a:pt x="198" y="330"/>
                </a:cubicBezTo>
                <a:cubicBezTo>
                  <a:pt x="171" y="401"/>
                  <a:pt x="171" y="401"/>
                  <a:pt x="171" y="401"/>
                </a:cubicBezTo>
                <a:cubicBezTo>
                  <a:pt x="169" y="407"/>
                  <a:pt x="172" y="413"/>
                  <a:pt x="177" y="415"/>
                </a:cubicBezTo>
                <a:cubicBezTo>
                  <a:pt x="178" y="415"/>
                  <a:pt x="180" y="416"/>
                  <a:pt x="181" y="416"/>
                </a:cubicBezTo>
                <a:cubicBezTo>
                  <a:pt x="185" y="416"/>
                  <a:pt x="189" y="413"/>
                  <a:pt x="191" y="409"/>
                </a:cubicBezTo>
                <a:cubicBezTo>
                  <a:pt x="220" y="330"/>
                  <a:pt x="220" y="330"/>
                  <a:pt x="220" y="330"/>
                </a:cubicBezTo>
                <a:cubicBezTo>
                  <a:pt x="245" y="330"/>
                  <a:pt x="245" y="330"/>
                  <a:pt x="245" y="330"/>
                </a:cubicBezTo>
                <a:cubicBezTo>
                  <a:pt x="245" y="373"/>
                  <a:pt x="245" y="373"/>
                  <a:pt x="245" y="373"/>
                </a:cubicBezTo>
                <a:cubicBezTo>
                  <a:pt x="245" y="379"/>
                  <a:pt x="250" y="384"/>
                  <a:pt x="256" y="384"/>
                </a:cubicBezTo>
                <a:cubicBezTo>
                  <a:pt x="262" y="384"/>
                  <a:pt x="266" y="379"/>
                  <a:pt x="266" y="373"/>
                </a:cubicBezTo>
                <a:cubicBezTo>
                  <a:pt x="266" y="330"/>
                  <a:pt x="266" y="330"/>
                  <a:pt x="266" y="330"/>
                </a:cubicBezTo>
                <a:cubicBezTo>
                  <a:pt x="291" y="330"/>
                  <a:pt x="291" y="330"/>
                  <a:pt x="291" y="330"/>
                </a:cubicBezTo>
                <a:cubicBezTo>
                  <a:pt x="320" y="409"/>
                  <a:pt x="320" y="409"/>
                  <a:pt x="320" y="409"/>
                </a:cubicBezTo>
                <a:cubicBezTo>
                  <a:pt x="322" y="413"/>
                  <a:pt x="326" y="416"/>
                  <a:pt x="330" y="416"/>
                </a:cubicBezTo>
                <a:cubicBezTo>
                  <a:pt x="332" y="416"/>
                  <a:pt x="333" y="415"/>
                  <a:pt x="334" y="415"/>
                </a:cubicBezTo>
                <a:cubicBezTo>
                  <a:pt x="340" y="413"/>
                  <a:pt x="342" y="407"/>
                  <a:pt x="340" y="401"/>
                </a:cubicBezTo>
                <a:cubicBezTo>
                  <a:pt x="314" y="330"/>
                  <a:pt x="314" y="330"/>
                  <a:pt x="314" y="330"/>
                </a:cubicBezTo>
                <a:cubicBezTo>
                  <a:pt x="384" y="330"/>
                  <a:pt x="384" y="330"/>
                  <a:pt x="384" y="330"/>
                </a:cubicBezTo>
                <a:cubicBezTo>
                  <a:pt x="390" y="330"/>
                  <a:pt x="394" y="326"/>
                  <a:pt x="394" y="320"/>
                </a:cubicBezTo>
                <a:lnTo>
                  <a:pt x="394" y="128"/>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0" name="Freeform 575"/>
          <p:cNvSpPr>
            <a:spLocks noChangeAspect="1" noEditPoints="1"/>
          </p:cNvSpPr>
          <p:nvPr/>
        </p:nvSpPr>
        <p:spPr bwMode="auto">
          <a:xfrm>
            <a:off x="393548" y="1948653"/>
            <a:ext cx="737099" cy="734937"/>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0 w 512"/>
              <a:gd name="T11" fmla="*/ 362 h 512"/>
              <a:gd name="T12" fmla="*/ 320 w 512"/>
              <a:gd name="T13" fmla="*/ 384 h 512"/>
              <a:gd name="T14" fmla="*/ 224 w 512"/>
              <a:gd name="T15" fmla="*/ 384 h 512"/>
              <a:gd name="T16" fmla="*/ 191 w 512"/>
              <a:gd name="T17" fmla="*/ 373 h 512"/>
              <a:gd name="T18" fmla="*/ 106 w 512"/>
              <a:gd name="T19" fmla="*/ 373 h 512"/>
              <a:gd name="T20" fmla="*/ 96 w 512"/>
              <a:gd name="T21" fmla="*/ 362 h 512"/>
              <a:gd name="T22" fmla="*/ 96 w 512"/>
              <a:gd name="T23" fmla="*/ 245 h 512"/>
              <a:gd name="T24" fmla="*/ 106 w 512"/>
              <a:gd name="T25" fmla="*/ 234 h 512"/>
              <a:gd name="T26" fmla="*/ 175 w 512"/>
              <a:gd name="T27" fmla="*/ 234 h 512"/>
              <a:gd name="T28" fmla="*/ 184 w 512"/>
              <a:gd name="T29" fmla="*/ 220 h 512"/>
              <a:gd name="T30" fmla="*/ 185 w 512"/>
              <a:gd name="T31" fmla="*/ 218 h 512"/>
              <a:gd name="T32" fmla="*/ 280 w 512"/>
              <a:gd name="T33" fmla="*/ 110 h 512"/>
              <a:gd name="T34" fmla="*/ 287 w 512"/>
              <a:gd name="T35" fmla="*/ 106 h 512"/>
              <a:gd name="T36" fmla="*/ 295 w 512"/>
              <a:gd name="T37" fmla="*/ 109 h 512"/>
              <a:gd name="T38" fmla="*/ 309 w 512"/>
              <a:gd name="T39" fmla="*/ 152 h 512"/>
              <a:gd name="T40" fmla="*/ 292 w 512"/>
              <a:gd name="T41" fmla="*/ 202 h 512"/>
              <a:gd name="T42" fmla="*/ 330 w 512"/>
              <a:gd name="T43" fmla="*/ 202 h 512"/>
              <a:gd name="T44" fmla="*/ 394 w 512"/>
              <a:gd name="T45" fmla="*/ 266 h 512"/>
              <a:gd name="T46" fmla="*/ 370 w 512"/>
              <a:gd name="T47" fmla="*/ 362 h 512"/>
              <a:gd name="T48" fmla="*/ 170 w 512"/>
              <a:gd name="T49" fmla="*/ 330 h 512"/>
              <a:gd name="T50" fmla="*/ 174 w 512"/>
              <a:gd name="T51" fmla="*/ 352 h 512"/>
              <a:gd name="T52" fmla="*/ 117 w 512"/>
              <a:gd name="T53" fmla="*/ 352 h 512"/>
              <a:gd name="T54" fmla="*/ 117 w 512"/>
              <a:gd name="T55" fmla="*/ 256 h 512"/>
              <a:gd name="T56" fmla="*/ 170 w 512"/>
              <a:gd name="T57" fmla="*/ 256 h 512"/>
              <a:gd name="T58" fmla="*/ 170 w 512"/>
              <a:gd name="T59" fmla="*/ 256 h 512"/>
              <a:gd name="T60" fmla="*/ 170 w 512"/>
              <a:gd name="T61" fmla="*/ 330 h 512"/>
              <a:gd name="T62" fmla="*/ 373 w 512"/>
              <a:gd name="T63" fmla="*/ 267 h 512"/>
              <a:gd name="T64" fmla="*/ 354 w 512"/>
              <a:gd name="T65" fmla="*/ 348 h 512"/>
              <a:gd name="T66" fmla="*/ 320 w 512"/>
              <a:gd name="T67" fmla="*/ 362 h 512"/>
              <a:gd name="T68" fmla="*/ 224 w 512"/>
              <a:gd name="T69" fmla="*/ 362 h 512"/>
              <a:gd name="T70" fmla="*/ 192 w 512"/>
              <a:gd name="T71" fmla="*/ 330 h 512"/>
              <a:gd name="T72" fmla="*/ 192 w 512"/>
              <a:gd name="T73" fmla="*/ 256 h 512"/>
              <a:gd name="T74" fmla="*/ 200 w 512"/>
              <a:gd name="T75" fmla="*/ 233 h 512"/>
              <a:gd name="T76" fmla="*/ 201 w 512"/>
              <a:gd name="T77" fmla="*/ 233 h 512"/>
              <a:gd name="T78" fmla="*/ 287 w 512"/>
              <a:gd name="T79" fmla="*/ 134 h 512"/>
              <a:gd name="T80" fmla="*/ 288 w 512"/>
              <a:gd name="T81" fmla="*/ 146 h 512"/>
              <a:gd name="T82" fmla="*/ 267 w 512"/>
              <a:gd name="T83" fmla="*/ 210 h 512"/>
              <a:gd name="T84" fmla="*/ 267 w 512"/>
              <a:gd name="T85" fmla="*/ 210 h 512"/>
              <a:gd name="T86" fmla="*/ 266 w 512"/>
              <a:gd name="T87" fmla="*/ 213 h 512"/>
              <a:gd name="T88" fmla="*/ 277 w 512"/>
              <a:gd name="T89" fmla="*/ 224 h 512"/>
              <a:gd name="T90" fmla="*/ 330 w 512"/>
              <a:gd name="T91" fmla="*/ 224 h 512"/>
              <a:gd name="T92" fmla="*/ 373 w 512"/>
              <a:gd name="T93" fmla="*/ 2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0" y="362"/>
                </a:moveTo>
                <a:cubicBezTo>
                  <a:pt x="357" y="377"/>
                  <a:pt x="340" y="384"/>
                  <a:pt x="320" y="384"/>
                </a:cubicBezTo>
                <a:cubicBezTo>
                  <a:pt x="224" y="384"/>
                  <a:pt x="224" y="384"/>
                  <a:pt x="224" y="384"/>
                </a:cubicBezTo>
                <a:cubicBezTo>
                  <a:pt x="211" y="384"/>
                  <a:pt x="200" y="380"/>
                  <a:pt x="191" y="373"/>
                </a:cubicBezTo>
                <a:cubicBezTo>
                  <a:pt x="106" y="373"/>
                  <a:pt x="106" y="373"/>
                  <a:pt x="106" y="373"/>
                </a:cubicBezTo>
                <a:cubicBezTo>
                  <a:pt x="100" y="373"/>
                  <a:pt x="96" y="368"/>
                  <a:pt x="96" y="362"/>
                </a:cubicBezTo>
                <a:cubicBezTo>
                  <a:pt x="96" y="245"/>
                  <a:pt x="96" y="245"/>
                  <a:pt x="96" y="245"/>
                </a:cubicBezTo>
                <a:cubicBezTo>
                  <a:pt x="96" y="239"/>
                  <a:pt x="100" y="234"/>
                  <a:pt x="106" y="234"/>
                </a:cubicBezTo>
                <a:cubicBezTo>
                  <a:pt x="175" y="234"/>
                  <a:pt x="175" y="234"/>
                  <a:pt x="175" y="234"/>
                </a:cubicBezTo>
                <a:cubicBezTo>
                  <a:pt x="177" y="229"/>
                  <a:pt x="180" y="224"/>
                  <a:pt x="184" y="220"/>
                </a:cubicBezTo>
                <a:cubicBezTo>
                  <a:pt x="185" y="218"/>
                  <a:pt x="185" y="218"/>
                  <a:pt x="185" y="218"/>
                </a:cubicBezTo>
                <a:cubicBezTo>
                  <a:pt x="280" y="110"/>
                  <a:pt x="280" y="110"/>
                  <a:pt x="280" y="110"/>
                </a:cubicBezTo>
                <a:cubicBezTo>
                  <a:pt x="282" y="108"/>
                  <a:pt x="284" y="106"/>
                  <a:pt x="287" y="106"/>
                </a:cubicBezTo>
                <a:cubicBezTo>
                  <a:pt x="290" y="106"/>
                  <a:pt x="293" y="107"/>
                  <a:pt x="295" y="109"/>
                </a:cubicBezTo>
                <a:cubicBezTo>
                  <a:pt x="296" y="110"/>
                  <a:pt x="315" y="129"/>
                  <a:pt x="309" y="152"/>
                </a:cubicBezTo>
                <a:cubicBezTo>
                  <a:pt x="292" y="202"/>
                  <a:pt x="292" y="202"/>
                  <a:pt x="292" y="202"/>
                </a:cubicBezTo>
                <a:cubicBezTo>
                  <a:pt x="330" y="202"/>
                  <a:pt x="330" y="202"/>
                  <a:pt x="330" y="202"/>
                </a:cubicBezTo>
                <a:cubicBezTo>
                  <a:pt x="361" y="202"/>
                  <a:pt x="394" y="235"/>
                  <a:pt x="394" y="266"/>
                </a:cubicBezTo>
                <a:cubicBezTo>
                  <a:pt x="395" y="268"/>
                  <a:pt x="400" y="329"/>
                  <a:pt x="370" y="362"/>
                </a:cubicBezTo>
                <a:close/>
                <a:moveTo>
                  <a:pt x="170" y="330"/>
                </a:moveTo>
                <a:cubicBezTo>
                  <a:pt x="170" y="338"/>
                  <a:pt x="172" y="345"/>
                  <a:pt x="174" y="352"/>
                </a:cubicBezTo>
                <a:cubicBezTo>
                  <a:pt x="117" y="352"/>
                  <a:pt x="117" y="352"/>
                  <a:pt x="117" y="352"/>
                </a:cubicBezTo>
                <a:cubicBezTo>
                  <a:pt x="117" y="256"/>
                  <a:pt x="117" y="256"/>
                  <a:pt x="117" y="256"/>
                </a:cubicBezTo>
                <a:cubicBezTo>
                  <a:pt x="170" y="256"/>
                  <a:pt x="170" y="256"/>
                  <a:pt x="170" y="256"/>
                </a:cubicBezTo>
                <a:cubicBezTo>
                  <a:pt x="170" y="256"/>
                  <a:pt x="170" y="256"/>
                  <a:pt x="170" y="256"/>
                </a:cubicBezTo>
                <a:lnTo>
                  <a:pt x="170" y="330"/>
                </a:lnTo>
                <a:close/>
                <a:moveTo>
                  <a:pt x="373" y="267"/>
                </a:moveTo>
                <a:cubicBezTo>
                  <a:pt x="373" y="268"/>
                  <a:pt x="378" y="322"/>
                  <a:pt x="354" y="348"/>
                </a:cubicBezTo>
                <a:cubicBezTo>
                  <a:pt x="346" y="358"/>
                  <a:pt x="334" y="362"/>
                  <a:pt x="320" y="362"/>
                </a:cubicBezTo>
                <a:cubicBezTo>
                  <a:pt x="224" y="362"/>
                  <a:pt x="224" y="362"/>
                  <a:pt x="224" y="362"/>
                </a:cubicBezTo>
                <a:cubicBezTo>
                  <a:pt x="205" y="362"/>
                  <a:pt x="192" y="349"/>
                  <a:pt x="192" y="330"/>
                </a:cubicBezTo>
                <a:cubicBezTo>
                  <a:pt x="192" y="256"/>
                  <a:pt x="192" y="256"/>
                  <a:pt x="192" y="256"/>
                </a:cubicBezTo>
                <a:cubicBezTo>
                  <a:pt x="192" y="248"/>
                  <a:pt x="195" y="240"/>
                  <a:pt x="200" y="233"/>
                </a:cubicBezTo>
                <a:cubicBezTo>
                  <a:pt x="201" y="233"/>
                  <a:pt x="201" y="233"/>
                  <a:pt x="201" y="233"/>
                </a:cubicBezTo>
                <a:cubicBezTo>
                  <a:pt x="287" y="134"/>
                  <a:pt x="287" y="134"/>
                  <a:pt x="287" y="134"/>
                </a:cubicBezTo>
                <a:cubicBezTo>
                  <a:pt x="288" y="138"/>
                  <a:pt x="289" y="142"/>
                  <a:pt x="288" y="146"/>
                </a:cubicBezTo>
                <a:cubicBezTo>
                  <a:pt x="267" y="210"/>
                  <a:pt x="267" y="210"/>
                  <a:pt x="267" y="210"/>
                </a:cubicBezTo>
                <a:cubicBezTo>
                  <a:pt x="267" y="210"/>
                  <a:pt x="267" y="210"/>
                  <a:pt x="267" y="210"/>
                </a:cubicBezTo>
                <a:cubicBezTo>
                  <a:pt x="267" y="211"/>
                  <a:pt x="266" y="212"/>
                  <a:pt x="266" y="213"/>
                </a:cubicBezTo>
                <a:cubicBezTo>
                  <a:pt x="266" y="219"/>
                  <a:pt x="271" y="224"/>
                  <a:pt x="277" y="224"/>
                </a:cubicBezTo>
                <a:cubicBezTo>
                  <a:pt x="330" y="224"/>
                  <a:pt x="330" y="224"/>
                  <a:pt x="330" y="224"/>
                </a:cubicBezTo>
                <a:cubicBezTo>
                  <a:pt x="349" y="224"/>
                  <a:pt x="373" y="247"/>
                  <a:pt x="373" y="267"/>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1" name="Freeform 286"/>
          <p:cNvSpPr>
            <a:spLocks noChangeAspect="1" noEditPoints="1"/>
          </p:cNvSpPr>
          <p:nvPr/>
        </p:nvSpPr>
        <p:spPr bwMode="auto">
          <a:xfrm>
            <a:off x="1409997" y="1948653"/>
            <a:ext cx="736120" cy="736117"/>
          </a:xfrm>
          <a:custGeom>
            <a:avLst/>
            <a:gdLst>
              <a:gd name="T0" fmla="*/ 298 w 512"/>
              <a:gd name="T1" fmla="*/ 192 h 512"/>
              <a:gd name="T2" fmla="*/ 298 w 512"/>
              <a:gd name="T3" fmla="*/ 266 h 512"/>
              <a:gd name="T4" fmla="*/ 290 w 512"/>
              <a:gd name="T5" fmla="*/ 288 h 512"/>
              <a:gd name="T6" fmla="*/ 204 w 512"/>
              <a:gd name="T7" fmla="*/ 388 h 512"/>
              <a:gd name="T8" fmla="*/ 202 w 512"/>
              <a:gd name="T9" fmla="*/ 376 h 512"/>
              <a:gd name="T10" fmla="*/ 223 w 512"/>
              <a:gd name="T11" fmla="*/ 312 h 512"/>
              <a:gd name="T12" fmla="*/ 223 w 512"/>
              <a:gd name="T13" fmla="*/ 312 h 512"/>
              <a:gd name="T14" fmla="*/ 224 w 512"/>
              <a:gd name="T15" fmla="*/ 309 h 512"/>
              <a:gd name="T16" fmla="*/ 213 w 512"/>
              <a:gd name="T17" fmla="*/ 298 h 512"/>
              <a:gd name="T18" fmla="*/ 160 w 512"/>
              <a:gd name="T19" fmla="*/ 298 h 512"/>
              <a:gd name="T20" fmla="*/ 117 w 512"/>
              <a:gd name="T21" fmla="*/ 255 h 512"/>
              <a:gd name="T22" fmla="*/ 136 w 512"/>
              <a:gd name="T23" fmla="*/ 174 h 512"/>
              <a:gd name="T24" fmla="*/ 171 w 512"/>
              <a:gd name="T25" fmla="*/ 160 h 512"/>
              <a:gd name="T26" fmla="*/ 267 w 512"/>
              <a:gd name="T27" fmla="*/ 160 h 512"/>
              <a:gd name="T28" fmla="*/ 298 w 512"/>
              <a:gd name="T29" fmla="*/ 192 h 512"/>
              <a:gd name="T30" fmla="*/ 320 w 512"/>
              <a:gd name="T31" fmla="*/ 192 h 512"/>
              <a:gd name="T32" fmla="*/ 320 w 512"/>
              <a:gd name="T33" fmla="*/ 266 h 512"/>
              <a:gd name="T34" fmla="*/ 320 w 512"/>
              <a:gd name="T35" fmla="*/ 266 h 512"/>
              <a:gd name="T36" fmla="*/ 373 w 512"/>
              <a:gd name="T37" fmla="*/ 266 h 512"/>
              <a:gd name="T38" fmla="*/ 373 w 512"/>
              <a:gd name="T39" fmla="*/ 170 h 512"/>
              <a:gd name="T40" fmla="*/ 316 w 512"/>
              <a:gd name="T41" fmla="*/ 170 h 512"/>
              <a:gd name="T42" fmla="*/ 320 w 512"/>
              <a:gd name="T43" fmla="*/ 192 h 512"/>
              <a:gd name="T44" fmla="*/ 512 w 512"/>
              <a:gd name="T45" fmla="*/ 256 h 512"/>
              <a:gd name="T46" fmla="*/ 256 w 512"/>
              <a:gd name="T47" fmla="*/ 512 h 512"/>
              <a:gd name="T48" fmla="*/ 0 w 512"/>
              <a:gd name="T49" fmla="*/ 256 h 512"/>
              <a:gd name="T50" fmla="*/ 256 w 512"/>
              <a:gd name="T51" fmla="*/ 0 h 512"/>
              <a:gd name="T52" fmla="*/ 512 w 512"/>
              <a:gd name="T53" fmla="*/ 256 h 512"/>
              <a:gd name="T54" fmla="*/ 394 w 512"/>
              <a:gd name="T55" fmla="*/ 160 h 512"/>
              <a:gd name="T56" fmla="*/ 384 w 512"/>
              <a:gd name="T57" fmla="*/ 149 h 512"/>
              <a:gd name="T58" fmla="*/ 299 w 512"/>
              <a:gd name="T59" fmla="*/ 149 h 512"/>
              <a:gd name="T60" fmla="*/ 267 w 512"/>
              <a:gd name="T61" fmla="*/ 138 h 512"/>
              <a:gd name="T62" fmla="*/ 171 w 512"/>
              <a:gd name="T63" fmla="*/ 138 h 512"/>
              <a:gd name="T64" fmla="*/ 121 w 512"/>
              <a:gd name="T65" fmla="*/ 160 h 512"/>
              <a:gd name="T66" fmla="*/ 96 w 512"/>
              <a:gd name="T67" fmla="*/ 256 h 512"/>
              <a:gd name="T68" fmla="*/ 160 w 512"/>
              <a:gd name="T69" fmla="*/ 320 h 512"/>
              <a:gd name="T70" fmla="*/ 198 w 512"/>
              <a:gd name="T71" fmla="*/ 320 h 512"/>
              <a:gd name="T72" fmla="*/ 182 w 512"/>
              <a:gd name="T73" fmla="*/ 370 h 512"/>
              <a:gd name="T74" fmla="*/ 195 w 512"/>
              <a:gd name="T75" fmla="*/ 413 h 512"/>
              <a:gd name="T76" fmla="*/ 203 w 512"/>
              <a:gd name="T77" fmla="*/ 416 h 512"/>
              <a:gd name="T78" fmla="*/ 203 w 512"/>
              <a:gd name="T79" fmla="*/ 416 h 512"/>
              <a:gd name="T80" fmla="*/ 211 w 512"/>
              <a:gd name="T81" fmla="*/ 412 h 512"/>
              <a:gd name="T82" fmla="*/ 306 w 512"/>
              <a:gd name="T83" fmla="*/ 302 h 512"/>
              <a:gd name="T84" fmla="*/ 306 w 512"/>
              <a:gd name="T85" fmla="*/ 302 h 512"/>
              <a:gd name="T86" fmla="*/ 306 w 512"/>
              <a:gd name="T87" fmla="*/ 302 h 512"/>
              <a:gd name="T88" fmla="*/ 315 w 512"/>
              <a:gd name="T89" fmla="*/ 288 h 512"/>
              <a:gd name="T90" fmla="*/ 384 w 512"/>
              <a:gd name="T91" fmla="*/ 288 h 512"/>
              <a:gd name="T92" fmla="*/ 394 w 512"/>
              <a:gd name="T93" fmla="*/ 277 h 512"/>
              <a:gd name="T94" fmla="*/ 394 w 512"/>
              <a:gd name="T95"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2" h="512">
                <a:moveTo>
                  <a:pt x="298" y="192"/>
                </a:moveTo>
                <a:cubicBezTo>
                  <a:pt x="298" y="266"/>
                  <a:pt x="298" y="266"/>
                  <a:pt x="298" y="266"/>
                </a:cubicBezTo>
                <a:cubicBezTo>
                  <a:pt x="298" y="274"/>
                  <a:pt x="295" y="282"/>
                  <a:pt x="290" y="288"/>
                </a:cubicBezTo>
                <a:cubicBezTo>
                  <a:pt x="204" y="388"/>
                  <a:pt x="204" y="388"/>
                  <a:pt x="204" y="388"/>
                </a:cubicBezTo>
                <a:cubicBezTo>
                  <a:pt x="202" y="384"/>
                  <a:pt x="201" y="380"/>
                  <a:pt x="202" y="376"/>
                </a:cubicBezTo>
                <a:cubicBezTo>
                  <a:pt x="223" y="312"/>
                  <a:pt x="223" y="312"/>
                  <a:pt x="223" y="312"/>
                </a:cubicBezTo>
                <a:cubicBezTo>
                  <a:pt x="223" y="312"/>
                  <a:pt x="223" y="312"/>
                  <a:pt x="223" y="312"/>
                </a:cubicBezTo>
                <a:cubicBezTo>
                  <a:pt x="223" y="311"/>
                  <a:pt x="224" y="310"/>
                  <a:pt x="224" y="309"/>
                </a:cubicBezTo>
                <a:cubicBezTo>
                  <a:pt x="224" y="303"/>
                  <a:pt x="219" y="298"/>
                  <a:pt x="213" y="298"/>
                </a:cubicBezTo>
                <a:cubicBezTo>
                  <a:pt x="160" y="298"/>
                  <a:pt x="160" y="298"/>
                  <a:pt x="160" y="298"/>
                </a:cubicBezTo>
                <a:cubicBezTo>
                  <a:pt x="141" y="298"/>
                  <a:pt x="118" y="275"/>
                  <a:pt x="117" y="255"/>
                </a:cubicBezTo>
                <a:cubicBezTo>
                  <a:pt x="117" y="254"/>
                  <a:pt x="112" y="200"/>
                  <a:pt x="136" y="174"/>
                </a:cubicBezTo>
                <a:cubicBezTo>
                  <a:pt x="145" y="164"/>
                  <a:pt x="156" y="160"/>
                  <a:pt x="171" y="160"/>
                </a:cubicBezTo>
                <a:cubicBezTo>
                  <a:pt x="267" y="160"/>
                  <a:pt x="267" y="160"/>
                  <a:pt x="267" y="160"/>
                </a:cubicBezTo>
                <a:cubicBezTo>
                  <a:pt x="286" y="160"/>
                  <a:pt x="298" y="172"/>
                  <a:pt x="298" y="192"/>
                </a:cubicBezTo>
                <a:close/>
                <a:moveTo>
                  <a:pt x="320" y="192"/>
                </a:moveTo>
                <a:cubicBezTo>
                  <a:pt x="320" y="266"/>
                  <a:pt x="320" y="266"/>
                  <a:pt x="320" y="266"/>
                </a:cubicBezTo>
                <a:cubicBezTo>
                  <a:pt x="320" y="266"/>
                  <a:pt x="320" y="266"/>
                  <a:pt x="320" y="266"/>
                </a:cubicBezTo>
                <a:cubicBezTo>
                  <a:pt x="373" y="266"/>
                  <a:pt x="373" y="266"/>
                  <a:pt x="373" y="266"/>
                </a:cubicBezTo>
                <a:cubicBezTo>
                  <a:pt x="373" y="170"/>
                  <a:pt x="373" y="170"/>
                  <a:pt x="373" y="170"/>
                </a:cubicBezTo>
                <a:cubicBezTo>
                  <a:pt x="316" y="170"/>
                  <a:pt x="316" y="170"/>
                  <a:pt x="316" y="170"/>
                </a:cubicBezTo>
                <a:cubicBezTo>
                  <a:pt x="318" y="177"/>
                  <a:pt x="320" y="184"/>
                  <a:pt x="320" y="192"/>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94" y="160"/>
                </a:moveTo>
                <a:cubicBezTo>
                  <a:pt x="394" y="154"/>
                  <a:pt x="390" y="149"/>
                  <a:pt x="384" y="149"/>
                </a:cubicBezTo>
                <a:cubicBezTo>
                  <a:pt x="299" y="149"/>
                  <a:pt x="299" y="149"/>
                  <a:pt x="299" y="149"/>
                </a:cubicBezTo>
                <a:cubicBezTo>
                  <a:pt x="291" y="142"/>
                  <a:pt x="280" y="138"/>
                  <a:pt x="267" y="138"/>
                </a:cubicBezTo>
                <a:cubicBezTo>
                  <a:pt x="171" y="138"/>
                  <a:pt x="171" y="138"/>
                  <a:pt x="171" y="138"/>
                </a:cubicBezTo>
                <a:cubicBezTo>
                  <a:pt x="150" y="138"/>
                  <a:pt x="133" y="145"/>
                  <a:pt x="121" y="160"/>
                </a:cubicBezTo>
                <a:cubicBezTo>
                  <a:pt x="90" y="193"/>
                  <a:pt x="96" y="254"/>
                  <a:pt x="96" y="256"/>
                </a:cubicBezTo>
                <a:cubicBezTo>
                  <a:pt x="96" y="287"/>
                  <a:pt x="129" y="320"/>
                  <a:pt x="160" y="320"/>
                </a:cubicBezTo>
                <a:cubicBezTo>
                  <a:pt x="198" y="320"/>
                  <a:pt x="198" y="320"/>
                  <a:pt x="198" y="320"/>
                </a:cubicBezTo>
                <a:cubicBezTo>
                  <a:pt x="182" y="370"/>
                  <a:pt x="182" y="370"/>
                  <a:pt x="182" y="370"/>
                </a:cubicBezTo>
                <a:cubicBezTo>
                  <a:pt x="176" y="393"/>
                  <a:pt x="195" y="412"/>
                  <a:pt x="195" y="413"/>
                </a:cubicBezTo>
                <a:cubicBezTo>
                  <a:pt x="197" y="415"/>
                  <a:pt x="200" y="416"/>
                  <a:pt x="203" y="416"/>
                </a:cubicBezTo>
                <a:cubicBezTo>
                  <a:pt x="203" y="416"/>
                  <a:pt x="203" y="416"/>
                  <a:pt x="203" y="416"/>
                </a:cubicBezTo>
                <a:cubicBezTo>
                  <a:pt x="206" y="416"/>
                  <a:pt x="209" y="414"/>
                  <a:pt x="211" y="412"/>
                </a:cubicBezTo>
                <a:cubicBezTo>
                  <a:pt x="306" y="302"/>
                  <a:pt x="306" y="302"/>
                  <a:pt x="306" y="302"/>
                </a:cubicBezTo>
                <a:cubicBezTo>
                  <a:pt x="306" y="302"/>
                  <a:pt x="306" y="302"/>
                  <a:pt x="306" y="302"/>
                </a:cubicBezTo>
                <a:cubicBezTo>
                  <a:pt x="306" y="302"/>
                  <a:pt x="306" y="302"/>
                  <a:pt x="306" y="302"/>
                </a:cubicBezTo>
                <a:cubicBezTo>
                  <a:pt x="310" y="298"/>
                  <a:pt x="313" y="293"/>
                  <a:pt x="315" y="288"/>
                </a:cubicBezTo>
                <a:cubicBezTo>
                  <a:pt x="384" y="288"/>
                  <a:pt x="384" y="288"/>
                  <a:pt x="384" y="288"/>
                </a:cubicBezTo>
                <a:cubicBezTo>
                  <a:pt x="390" y="288"/>
                  <a:pt x="394" y="283"/>
                  <a:pt x="394" y="277"/>
                </a:cubicBezTo>
                <a:lnTo>
                  <a:pt x="394" y="160"/>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2" name="Freeform 375"/>
          <p:cNvSpPr>
            <a:spLocks noChangeAspect="1" noEditPoints="1"/>
          </p:cNvSpPr>
          <p:nvPr/>
        </p:nvSpPr>
        <p:spPr bwMode="auto">
          <a:xfrm>
            <a:off x="917827" y="4784073"/>
            <a:ext cx="740212" cy="740212"/>
          </a:xfrm>
          <a:custGeom>
            <a:avLst/>
            <a:gdLst>
              <a:gd name="T0" fmla="*/ 297 w 512"/>
              <a:gd name="T1" fmla="*/ 213 h 512"/>
              <a:gd name="T2" fmla="*/ 382 w 512"/>
              <a:gd name="T3" fmla="*/ 221 h 512"/>
              <a:gd name="T4" fmla="*/ 323 w 512"/>
              <a:gd name="T5" fmla="*/ 280 h 512"/>
              <a:gd name="T6" fmla="*/ 320 w 512"/>
              <a:gd name="T7" fmla="*/ 290 h 512"/>
              <a:gd name="T8" fmla="*/ 337 w 512"/>
              <a:gd name="T9" fmla="*/ 374 h 512"/>
              <a:gd name="T10" fmla="*/ 261 w 512"/>
              <a:gd name="T11" fmla="*/ 332 h 512"/>
              <a:gd name="T12" fmla="*/ 256 w 512"/>
              <a:gd name="T13" fmla="*/ 330 h 512"/>
              <a:gd name="T14" fmla="*/ 250 w 512"/>
              <a:gd name="T15" fmla="*/ 332 h 512"/>
              <a:gd name="T16" fmla="*/ 175 w 512"/>
              <a:gd name="T17" fmla="*/ 374 h 512"/>
              <a:gd name="T18" fmla="*/ 191 w 512"/>
              <a:gd name="T19" fmla="*/ 290 h 512"/>
              <a:gd name="T20" fmla="*/ 189 w 512"/>
              <a:gd name="T21" fmla="*/ 280 h 512"/>
              <a:gd name="T22" fmla="*/ 130 w 512"/>
              <a:gd name="T23" fmla="*/ 221 h 512"/>
              <a:gd name="T24" fmla="*/ 214 w 512"/>
              <a:gd name="T25" fmla="*/ 213 h 512"/>
              <a:gd name="T26" fmla="*/ 223 w 512"/>
              <a:gd name="T27" fmla="*/ 207 h 512"/>
              <a:gd name="T28" fmla="*/ 256 w 512"/>
              <a:gd name="T29" fmla="*/ 133 h 512"/>
              <a:gd name="T30" fmla="*/ 289 w 512"/>
              <a:gd name="T31" fmla="*/ 207 h 512"/>
              <a:gd name="T32" fmla="*/ 297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5 w 512"/>
              <a:gd name="T45" fmla="*/ 209 h 512"/>
              <a:gd name="T46" fmla="*/ 406 w 512"/>
              <a:gd name="T47" fmla="*/ 202 h 512"/>
              <a:gd name="T48" fmla="*/ 306 w 512"/>
              <a:gd name="T49" fmla="*/ 192 h 512"/>
              <a:gd name="T50" fmla="*/ 265 w 512"/>
              <a:gd name="T51" fmla="*/ 102 h 512"/>
              <a:gd name="T52" fmla="*/ 256 w 512"/>
              <a:gd name="T53" fmla="*/ 96 h 512"/>
              <a:gd name="T54" fmla="*/ 246 w 512"/>
              <a:gd name="T55" fmla="*/ 102 h 512"/>
              <a:gd name="T56" fmla="*/ 206 w 512"/>
              <a:gd name="T57" fmla="*/ 192 h 512"/>
              <a:gd name="T58" fmla="*/ 105 w 512"/>
              <a:gd name="T59" fmla="*/ 202 h 512"/>
              <a:gd name="T60" fmla="*/ 96 w 512"/>
              <a:gd name="T61" fmla="*/ 209 h 512"/>
              <a:gd name="T62" fmla="*/ 99 w 512"/>
              <a:gd name="T63" fmla="*/ 221 h 512"/>
              <a:gd name="T64" fmla="*/ 169 w 512"/>
              <a:gd name="T65" fmla="*/ 291 h 512"/>
              <a:gd name="T66" fmla="*/ 149 w 512"/>
              <a:gd name="T67" fmla="*/ 392 h 512"/>
              <a:gd name="T68" fmla="*/ 153 w 512"/>
              <a:gd name="T69" fmla="*/ 403 h 512"/>
              <a:gd name="T70" fmla="*/ 165 w 512"/>
              <a:gd name="T71" fmla="*/ 404 h 512"/>
              <a:gd name="T72" fmla="*/ 256 w 512"/>
              <a:gd name="T73" fmla="*/ 353 h 512"/>
              <a:gd name="T74" fmla="*/ 346 w 512"/>
              <a:gd name="T75" fmla="*/ 404 h 512"/>
              <a:gd name="T76" fmla="*/ 352 w 512"/>
              <a:gd name="T77" fmla="*/ 405 h 512"/>
              <a:gd name="T78" fmla="*/ 358 w 512"/>
              <a:gd name="T79" fmla="*/ 403 h 512"/>
              <a:gd name="T80" fmla="*/ 362 w 512"/>
              <a:gd name="T81" fmla="*/ 392 h 512"/>
              <a:gd name="T82" fmla="*/ 342 w 512"/>
              <a:gd name="T83" fmla="*/ 291 h 512"/>
              <a:gd name="T84" fmla="*/ 413 w 512"/>
              <a:gd name="T85" fmla="*/ 221 h 512"/>
              <a:gd name="T86" fmla="*/ 415 w 512"/>
              <a:gd name="T87" fmla="*/ 2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12" h="512">
                <a:moveTo>
                  <a:pt x="297" y="213"/>
                </a:moveTo>
                <a:cubicBezTo>
                  <a:pt x="382" y="221"/>
                  <a:pt x="382" y="221"/>
                  <a:pt x="382" y="221"/>
                </a:cubicBezTo>
                <a:cubicBezTo>
                  <a:pt x="323" y="280"/>
                  <a:pt x="323" y="280"/>
                  <a:pt x="323" y="280"/>
                </a:cubicBezTo>
                <a:cubicBezTo>
                  <a:pt x="320" y="283"/>
                  <a:pt x="319" y="286"/>
                  <a:pt x="320" y="290"/>
                </a:cubicBezTo>
                <a:cubicBezTo>
                  <a:pt x="337" y="374"/>
                  <a:pt x="337" y="374"/>
                  <a:pt x="337" y="374"/>
                </a:cubicBezTo>
                <a:cubicBezTo>
                  <a:pt x="261" y="332"/>
                  <a:pt x="261" y="332"/>
                  <a:pt x="261" y="332"/>
                </a:cubicBezTo>
                <a:cubicBezTo>
                  <a:pt x="259" y="331"/>
                  <a:pt x="257" y="330"/>
                  <a:pt x="256" y="330"/>
                </a:cubicBezTo>
                <a:cubicBezTo>
                  <a:pt x="254" y="330"/>
                  <a:pt x="252" y="331"/>
                  <a:pt x="250" y="332"/>
                </a:cubicBezTo>
                <a:cubicBezTo>
                  <a:pt x="175" y="374"/>
                  <a:pt x="175" y="374"/>
                  <a:pt x="175" y="374"/>
                </a:cubicBezTo>
                <a:cubicBezTo>
                  <a:pt x="191" y="290"/>
                  <a:pt x="191" y="290"/>
                  <a:pt x="191" y="290"/>
                </a:cubicBezTo>
                <a:cubicBezTo>
                  <a:pt x="192" y="286"/>
                  <a:pt x="191" y="283"/>
                  <a:pt x="189" y="280"/>
                </a:cubicBezTo>
                <a:cubicBezTo>
                  <a:pt x="130" y="221"/>
                  <a:pt x="130" y="221"/>
                  <a:pt x="130" y="221"/>
                </a:cubicBezTo>
                <a:cubicBezTo>
                  <a:pt x="214" y="213"/>
                  <a:pt x="214" y="213"/>
                  <a:pt x="214" y="213"/>
                </a:cubicBezTo>
                <a:cubicBezTo>
                  <a:pt x="218" y="213"/>
                  <a:pt x="221" y="210"/>
                  <a:pt x="223" y="207"/>
                </a:cubicBezTo>
                <a:cubicBezTo>
                  <a:pt x="256" y="133"/>
                  <a:pt x="256" y="133"/>
                  <a:pt x="256" y="133"/>
                </a:cubicBezTo>
                <a:cubicBezTo>
                  <a:pt x="289" y="207"/>
                  <a:pt x="289" y="207"/>
                  <a:pt x="289" y="207"/>
                </a:cubicBezTo>
                <a:cubicBezTo>
                  <a:pt x="290" y="210"/>
                  <a:pt x="293" y="213"/>
                  <a:pt x="297"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5" y="209"/>
                </a:moveTo>
                <a:cubicBezTo>
                  <a:pt x="414" y="206"/>
                  <a:pt x="410" y="203"/>
                  <a:pt x="406" y="202"/>
                </a:cubicBezTo>
                <a:cubicBezTo>
                  <a:pt x="306" y="192"/>
                  <a:pt x="306" y="192"/>
                  <a:pt x="306" y="192"/>
                </a:cubicBezTo>
                <a:cubicBezTo>
                  <a:pt x="265" y="102"/>
                  <a:pt x="265" y="102"/>
                  <a:pt x="265" y="102"/>
                </a:cubicBezTo>
                <a:cubicBezTo>
                  <a:pt x="264" y="98"/>
                  <a:pt x="260" y="96"/>
                  <a:pt x="256" y="96"/>
                </a:cubicBezTo>
                <a:cubicBezTo>
                  <a:pt x="251" y="96"/>
                  <a:pt x="248" y="98"/>
                  <a:pt x="246" y="102"/>
                </a:cubicBezTo>
                <a:cubicBezTo>
                  <a:pt x="206" y="192"/>
                  <a:pt x="206" y="192"/>
                  <a:pt x="206" y="192"/>
                </a:cubicBezTo>
                <a:cubicBezTo>
                  <a:pt x="105" y="202"/>
                  <a:pt x="105" y="202"/>
                  <a:pt x="105" y="202"/>
                </a:cubicBezTo>
                <a:cubicBezTo>
                  <a:pt x="101" y="203"/>
                  <a:pt x="98" y="206"/>
                  <a:pt x="96" y="209"/>
                </a:cubicBezTo>
                <a:cubicBezTo>
                  <a:pt x="95" y="213"/>
                  <a:pt x="96" y="218"/>
                  <a:pt x="99" y="221"/>
                </a:cubicBezTo>
                <a:cubicBezTo>
                  <a:pt x="169" y="291"/>
                  <a:pt x="169" y="291"/>
                  <a:pt x="169" y="291"/>
                </a:cubicBezTo>
                <a:cubicBezTo>
                  <a:pt x="149" y="392"/>
                  <a:pt x="149" y="392"/>
                  <a:pt x="149" y="392"/>
                </a:cubicBezTo>
                <a:cubicBezTo>
                  <a:pt x="148" y="396"/>
                  <a:pt x="150" y="401"/>
                  <a:pt x="153" y="403"/>
                </a:cubicBezTo>
                <a:cubicBezTo>
                  <a:pt x="157" y="405"/>
                  <a:pt x="161" y="406"/>
                  <a:pt x="165" y="404"/>
                </a:cubicBezTo>
                <a:cubicBezTo>
                  <a:pt x="256" y="353"/>
                  <a:pt x="256" y="353"/>
                  <a:pt x="256" y="353"/>
                </a:cubicBezTo>
                <a:cubicBezTo>
                  <a:pt x="346" y="404"/>
                  <a:pt x="346" y="404"/>
                  <a:pt x="346" y="404"/>
                </a:cubicBezTo>
                <a:cubicBezTo>
                  <a:pt x="348" y="405"/>
                  <a:pt x="350" y="405"/>
                  <a:pt x="352" y="405"/>
                </a:cubicBezTo>
                <a:cubicBezTo>
                  <a:pt x="354" y="405"/>
                  <a:pt x="356" y="404"/>
                  <a:pt x="358" y="403"/>
                </a:cubicBezTo>
                <a:cubicBezTo>
                  <a:pt x="361" y="401"/>
                  <a:pt x="363" y="396"/>
                  <a:pt x="362" y="392"/>
                </a:cubicBezTo>
                <a:cubicBezTo>
                  <a:pt x="342" y="291"/>
                  <a:pt x="342" y="291"/>
                  <a:pt x="342" y="291"/>
                </a:cubicBezTo>
                <a:cubicBezTo>
                  <a:pt x="413" y="221"/>
                  <a:pt x="413" y="221"/>
                  <a:pt x="413" y="221"/>
                </a:cubicBezTo>
                <a:cubicBezTo>
                  <a:pt x="415" y="218"/>
                  <a:pt x="416" y="213"/>
                  <a:pt x="415" y="209"/>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13" name="Rectangular Callout 12"/>
          <p:cNvSpPr/>
          <p:nvPr/>
        </p:nvSpPr>
        <p:spPr bwMode="gray">
          <a:xfrm>
            <a:off x="2505844" y="2979243"/>
            <a:ext cx="1685369" cy="991779"/>
          </a:xfrm>
          <a:prstGeom prst="wedgeRectCallout">
            <a:avLst>
              <a:gd name="adj1" fmla="val -99358"/>
              <a:gd name="adj2" fmla="val 2228"/>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r>
              <a:rPr lang="en-US" sz="1400" dirty="0" smtClean="0">
                <a:solidFill>
                  <a:schemeClr val="tx1"/>
                </a:solidFill>
              </a:rPr>
              <a:t>Were the questions clear?</a:t>
            </a:r>
            <a:endParaRPr lang="en-US" sz="1400" dirty="0">
              <a:solidFill>
                <a:schemeClr val="tx1"/>
              </a:solidFill>
            </a:endParaRPr>
          </a:p>
        </p:txBody>
      </p:sp>
      <p:sp>
        <p:nvSpPr>
          <p:cNvPr id="14" name="Rectangular Callout 13"/>
          <p:cNvSpPr/>
          <p:nvPr/>
        </p:nvSpPr>
        <p:spPr bwMode="gray">
          <a:xfrm>
            <a:off x="2512070" y="4783300"/>
            <a:ext cx="1685369" cy="991779"/>
          </a:xfrm>
          <a:prstGeom prst="wedgeRectCallout">
            <a:avLst>
              <a:gd name="adj1" fmla="val -99968"/>
              <a:gd name="adj2" fmla="val -14347"/>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r>
              <a:rPr lang="en-US" sz="1400" dirty="0" smtClean="0">
                <a:solidFill>
                  <a:schemeClr val="tx1"/>
                </a:solidFill>
              </a:rPr>
              <a:t>Any ideas for new topic areas?</a:t>
            </a:r>
            <a:endParaRPr lang="en-US" sz="1400" dirty="0">
              <a:solidFill>
                <a:schemeClr val="tx1"/>
              </a:solidFill>
            </a:endParaRPr>
          </a:p>
        </p:txBody>
      </p:sp>
      <p:sp>
        <p:nvSpPr>
          <p:cNvPr id="15" name="Rectangular Callout 14"/>
          <p:cNvSpPr/>
          <p:nvPr/>
        </p:nvSpPr>
        <p:spPr bwMode="gray">
          <a:xfrm>
            <a:off x="6738439" y="4822848"/>
            <a:ext cx="2009561" cy="991779"/>
          </a:xfrm>
          <a:prstGeom prst="wedgeRectCallout">
            <a:avLst>
              <a:gd name="adj1" fmla="val -94344"/>
              <a:gd name="adj2" fmla="val -3988"/>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r>
              <a:rPr lang="en-US" sz="1400" dirty="0" smtClean="0">
                <a:solidFill>
                  <a:schemeClr val="tx1"/>
                </a:solidFill>
              </a:rPr>
              <a:t>Could we present our results any better?</a:t>
            </a:r>
            <a:endParaRPr lang="en-US" sz="1400" dirty="0">
              <a:solidFill>
                <a:schemeClr val="tx1"/>
              </a:solidFill>
            </a:endParaRPr>
          </a:p>
        </p:txBody>
      </p:sp>
      <p:sp>
        <p:nvSpPr>
          <p:cNvPr id="16" name="Rectangular Callout 15"/>
          <p:cNvSpPr/>
          <p:nvPr/>
        </p:nvSpPr>
        <p:spPr bwMode="gray">
          <a:xfrm>
            <a:off x="6738439" y="2850823"/>
            <a:ext cx="1685369" cy="991779"/>
          </a:xfrm>
          <a:prstGeom prst="wedgeRectCallout">
            <a:avLst>
              <a:gd name="adj1" fmla="val -103625"/>
              <a:gd name="adj2" fmla="val 18803"/>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8900" tIns="88900" rIns="88900" bIns="88900" rtlCol="0" anchor="ctr" anchorCtr="0"/>
          <a:lstStyle/>
          <a:p>
            <a:r>
              <a:rPr lang="en-US" sz="1400" dirty="0" smtClean="0">
                <a:solidFill>
                  <a:schemeClr val="tx1"/>
                </a:solidFill>
              </a:rPr>
              <a:t>Could we delve deeper in to some topic areas?</a:t>
            </a:r>
            <a:endParaRPr lang="en-US" sz="1400" dirty="0">
              <a:solidFill>
                <a:schemeClr val="tx1"/>
              </a:solidFill>
            </a:endParaRPr>
          </a:p>
        </p:txBody>
      </p:sp>
    </p:spTree>
    <p:extLst>
      <p:ext uri="{BB962C8B-B14F-4D97-AF65-F5344CB8AC3E}">
        <p14:creationId xmlns:p14="http://schemas.microsoft.com/office/powerpoint/2010/main" val="25483363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_UK_Onscreen">
  <a:themeElements>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solidFill>
            <a:schemeClr val="accent3"/>
          </a:solidFill>
          <a:miter lim="800000"/>
          <a:headEnd/>
          <a:tailEnd/>
        </a:ln>
      </a:spPr>
      <a:bodyPr wrap="square" lIns="88900" tIns="88900" rIns="88900" bIns="88900" rtlCol="0" anchor="ctr"/>
      <a:lstStyle>
        <a:defPPr algn="ctr">
          <a:lnSpc>
            <a:spcPct val="106000"/>
          </a:lnSpc>
          <a:buFont typeface="Wingdings 2" pitchFamily="18" charset="2"/>
          <a:buNone/>
          <a:defRPr sz="1600" b="1" noProof="0" dirty="0" err="1" smtClean="0">
            <a:solidFill>
              <a:schemeClr val="bg1"/>
            </a:solidFill>
          </a:defRPr>
        </a:defPPr>
      </a:lstStyle>
    </a:spDef>
    <a:lnDef>
      <a:spPr>
        <a:ln>
          <a:solidFill>
            <a:srgbClr val="44546A"/>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76400" indent="-176400">
          <a:spcBef>
            <a:spcPts val="0"/>
          </a:spcBef>
          <a:spcAft>
            <a:spcPts val="1000"/>
          </a:spcAft>
          <a:buSzPct val="100000"/>
          <a:buFont typeface="Arial"/>
          <a:buChar char="•"/>
          <a:defRPr sz="1200" noProof="0" dirty="0" err="1" smtClean="0">
            <a:solidFill>
              <a:schemeClr val="tx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Lst>
  <a:extLst>
    <a:ext uri="{05A4C25C-085E-4340-85A3-A5531E510DB2}">
      <thm15:themeFamily xmlns:thm15="http://schemas.microsoft.com/office/thememl/2012/main" name="Presentation (4-3).potx" id="{81226782-3F4C-4FAE-ACB3-7A350325E9DA}" vid="{E3359E41-2FE4-49EA-92B0-D3F400C55B54}"/>
    </a:ext>
  </a:ext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Presentation (4-3)</Template>
  <TotalTime>1811</TotalTime>
  <Words>866</Words>
  <Application>Microsoft Office PowerPoint</Application>
  <PresentationFormat>On-screen Show (4:3)</PresentationFormat>
  <Paragraphs>126</Paragraphs>
  <Slides>10</Slides>
  <Notes>8</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0</vt:i4>
      </vt:variant>
    </vt:vector>
  </HeadingPairs>
  <TitlesOfParts>
    <vt:vector size="18" baseType="lpstr">
      <vt:lpstr>Arial</vt:lpstr>
      <vt:lpstr>Open Sans</vt:lpstr>
      <vt:lpstr>Times New Roman</vt:lpstr>
      <vt:lpstr>Verdana</vt:lpstr>
      <vt:lpstr>Wingdings</vt:lpstr>
      <vt:lpstr>Wingdings 2</vt:lpstr>
      <vt:lpstr>Deloitte_UK_Onscreen</vt:lpstr>
      <vt:lpstr>think-cell Slide</vt:lpstr>
      <vt:lpstr>Departmental Assurance Survey</vt:lpstr>
      <vt:lpstr>Contents</vt:lpstr>
      <vt:lpstr>Summary Results 2017/18</vt:lpstr>
      <vt:lpstr>University Level and UAS Results (weakest to strongest)</vt:lpstr>
      <vt:lpstr>Financial areas – points of improvement</vt:lpstr>
      <vt:lpstr>Non-financial areas for improvement: </vt:lpstr>
      <vt:lpstr>Further information</vt:lpstr>
      <vt:lpstr>Timeline of Survey Preparation and Analysis</vt:lpstr>
      <vt:lpstr>Continuous improvement</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nal Audit</dc:title>
  <dc:creator>Moore, Abbey (UK - Cardiff)</dc:creator>
  <cp:lastModifiedBy>Patterson, Andrew L (UK - St Albans)</cp:lastModifiedBy>
  <cp:revision>223</cp:revision>
  <cp:lastPrinted>2017-05-08T11:13:22Z</cp:lastPrinted>
  <dcterms:created xsi:type="dcterms:W3CDTF">2017-04-26T09:25:06Z</dcterms:created>
  <dcterms:modified xsi:type="dcterms:W3CDTF">2018-07-16T08:53: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D_TemplateTypeName">
    <vt:lpwstr>powerpoint</vt:lpwstr>
  </property>
  <property fmtid="{D5CDD505-2E9C-101B-9397-08002B2CF9AE}" pid="3" name="SD_DocumentLanguageString">
    <vt:lpwstr>English (United Kingdom)</vt:lpwstr>
  </property>
  <property fmtid="{D5CDD505-2E9C-101B-9397-08002B2CF9AE}" pid="4" name="SD_CtlText_Usersettings_Userprofile">
    <vt:lpwstr>Abbey Moore</vt:lpwstr>
  </property>
  <property fmtid="{D5CDD505-2E9C-101B-9397-08002B2CF9AE}" pid="5" name="SD_DocumentLanguage">
    <vt:lpwstr>en-GB</vt:lpwstr>
  </property>
  <property fmtid="{D5CDD505-2E9C-101B-9397-08002B2CF9AE}" pid="6" name="SD_InternalExternal">
    <vt:lpwstr>5</vt:lpwstr>
  </property>
  <property fmtid="{D5CDD505-2E9C-101B-9397-08002B2CF9AE}" pid="7" name="SD_CtlText_Generelt_InternExtern">
    <vt:lpwstr>5</vt:lpwstr>
  </property>
  <property fmtid="{D5CDD505-2E9C-101B-9397-08002B2CF9AE}" pid="8" name="SD_UserprofileName">
    <vt:lpwstr>Abbey Moore</vt:lpwstr>
  </property>
  <property fmtid="{D5CDD505-2E9C-101B-9397-08002B2CF9AE}" pid="9" name="SD_OFF_ID">
    <vt:lpwstr>1</vt:lpwstr>
  </property>
  <property fmtid="{D5CDD505-2E9C-101B-9397-08002B2CF9AE}" pid="10" name="CurrentOfficeID">
    <vt:lpwstr>1</vt:lpwstr>
  </property>
  <property fmtid="{D5CDD505-2E9C-101B-9397-08002B2CF9AE}" pid="11" name="SD_OFF_Office">
    <vt:lpwstr>Deloitte LLP</vt:lpwstr>
  </property>
  <property fmtid="{D5CDD505-2E9C-101B-9397-08002B2CF9AE}" pid="12" name="SD_OFF_LegalName">
    <vt:lpwstr>Deloitte LLP</vt:lpwstr>
  </property>
  <property fmtid="{D5CDD505-2E9C-101B-9397-08002B2CF9AE}" pid="13" name="SD_OFF_InternalText_DE">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4" name="SD_OFF_InternalText">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5" name="SD_OFF_InternalText_FR">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6" name="SD_OFF_InternalText_IT">
    <vt:lpwstr>This is an internal document which provides confidential advice and guidance to partners and staff of Deloitte LLP and its subsidiaries. It is not to be copied or made available to any other party.
© %Date:yyyy% Deloitte LLP. All rights reserved.</vt:lpwstr>
  </property>
  <property fmtid="{D5CDD505-2E9C-101B-9397-08002B2CF9AE}" pid="17" name="SD_OFF_ExternalWord_DE">
    <vt:lpwstr>Deloitte LLP is a limited liability partnership registered in England and Wales with registered number OC303675 and its registered office at 2 New Street Square, London EC4A 3BZ, United Kingdom.
Deloitte LLP is the United Kingdom member firm of Deloitte </vt:lpwstr>
  </property>
  <property fmtid="{D5CDD505-2E9C-101B-9397-08002B2CF9AE}" pid="18" name="SD_OFF_ExternalWord">
    <vt:lpwstr>Deloitte LLP is a limited liability partnership registered in England and Wales with registered number OC303675 and its registered office at 2 New Street Square, London EC4A 3BZ, United Kingdom.
Deloitte LLP is the United Kingdom member firm of Deloitte </vt:lpwstr>
  </property>
  <property fmtid="{D5CDD505-2E9C-101B-9397-08002B2CF9AE}" pid="19" name="SD_OFF_ExternalWord_FR">
    <vt:lpwstr>Deloitte LLP is a limited liability partnership registered in England and Wales with registered number OC303675 and its registered office at 2 New Street Square, London EC4A 3BZ, United Kingdom.
Deloitte LLP is the United Kingdom member firm of Deloitte </vt:lpwstr>
  </property>
  <property fmtid="{D5CDD505-2E9C-101B-9397-08002B2CF9AE}" pid="20" name="SD_OFF_ExternalWord_IT">
    <vt:lpwstr>Deloitte LLP is a limited liability partnership registered in England and Wales with registered number OC303675 and its registered office at 2 New Street Square, London EC4A 3BZ, United Kingdom.
Deloitte LLP is the United Kingdom member firm of Deloitte </vt:lpwstr>
  </property>
  <property fmtid="{D5CDD505-2E9C-101B-9397-08002B2CF9AE}" pid="21" name="SD_OFF_ExternalPowerPoint_DE">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2" name="SD_OFF_ExternalPowerPoint">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3" name="SD_OFF_ExternalPowerPoint_FR">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4" name="SD_OFF_ExternalPowerPoint_IT">
    <vt:lpwstr>Deloitte refers to one or more of Deloitte Touche Tohmatsu Limited (“DTTL”), a UK private company limited by guarantee, and its network of member firms, each of which is a legally separate and independent entity. Please see www.deloitte.co.uk/about for a </vt:lpwstr>
  </property>
  <property fmtid="{D5CDD505-2E9C-101B-9397-08002B2CF9AE}" pid="25" name="SD_OFF_ExternalReport_DE">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26" name="SD_OFF_ExternalReport">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27" name="SD_OFF_ExternalReport_FR">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28" name="SD_OFF_ExternalReport_IT">
    <vt:lpwstr>Other than as stated below, this document is confidential and prepared solely for your information and that of other beneficiaries of our advice listed in our engagement letter. Therefore you should not, refer to or use our name or this document for any o</vt:lpwstr>
  </property>
  <property fmtid="{D5CDD505-2E9C-101B-9397-08002B2CF9AE}" pid="29" name="SD_OFF_ExternalProposal_DE">
    <vt:lpwstr>Important notice
This document has been prepared by Deloitte LLP (as defined below) for the sole purpose of providing a proposal to the parties to whom it is addressed in order that they may evaluate the capabilities of Deloitte LLP to supply the propose</vt:lpwstr>
  </property>
  <property fmtid="{D5CDD505-2E9C-101B-9397-08002B2CF9AE}" pid="30" name="SD_OFF_ExternalProposal">
    <vt:lpwstr>Important notice
This document has been prepared by Deloitte LLP (as defined below) for the sole purpose of providing a proposal to the parties to whom it is addressed in order that they may evaluate the capabilities of Deloitte LLP to supply the propose</vt:lpwstr>
  </property>
  <property fmtid="{D5CDD505-2E9C-101B-9397-08002B2CF9AE}" pid="31" name="SD_OFF_ExternalProposal_FR">
    <vt:lpwstr>Important notice
This document has been prepared by Deloitte LLP (as defined below) for the sole purpose of providing a proposal to the parties to whom it is addressed in order that they may evaluate the capabilities of Deloitte LLP to supply the propose</vt:lpwstr>
  </property>
  <property fmtid="{D5CDD505-2E9C-101B-9397-08002B2CF9AE}" pid="32" name="SD_OFF_ExternalProposal_IT">
    <vt:lpwstr>Important notice
This document has been prepared by Deloitte LLP (as defined below) for the sole purpose of providing a proposal to the parties to whom it is addressed in order that they may evaluate the capabilities of Deloitte LLP to supply the propose</vt:lpwstr>
  </property>
  <property fmtid="{D5CDD505-2E9C-101B-9397-08002B2CF9AE}" pid="33" name="SD_OFF_ExternalProposalException_DE">
    <vt:lpwstr/>
  </property>
  <property fmtid="{D5CDD505-2E9C-101B-9397-08002B2CF9AE}" pid="34" name="SD_OFF_ExternalProposalException">
    <vt:lpwstr/>
  </property>
  <property fmtid="{D5CDD505-2E9C-101B-9397-08002B2CF9AE}" pid="35" name="SD_OFF_ExternalProposalException_FR">
    <vt:lpwstr/>
  </property>
  <property fmtid="{D5CDD505-2E9C-101B-9397-08002B2CF9AE}" pid="36" name="SD_OFF_ExternalProposalException_IT">
    <vt:lpwstr/>
  </property>
  <property fmtid="{D5CDD505-2E9C-101B-9397-08002B2CF9AE}" pid="37" name="SD_OFF_Competencies_DE">
    <vt:lpwstr/>
  </property>
  <property fmtid="{D5CDD505-2E9C-101B-9397-08002B2CF9AE}" pid="38" name="SD_OFF_Competencies">
    <vt:lpwstr/>
  </property>
  <property fmtid="{D5CDD505-2E9C-101B-9397-08002B2CF9AE}" pid="39" name="SD_OFF_Competencies_FR">
    <vt:lpwstr/>
  </property>
  <property fmtid="{D5CDD505-2E9C-101B-9397-08002B2CF9AE}" pid="40" name="SD_OFF_Competencies_IT">
    <vt:lpwstr/>
  </property>
  <property fmtid="{D5CDD505-2E9C-101B-9397-08002B2CF9AE}" pid="41" name="SD_OFF_WebAddress">
    <vt:lpwstr>www.deloitte.co.uk</vt:lpwstr>
  </property>
  <property fmtid="{D5CDD505-2E9C-101B-9397-08002B2CF9AE}" pid="42" name="SD_OFF_VATNumber">
    <vt:lpwstr>GB 809 7077 06</vt:lpwstr>
  </property>
  <property fmtid="{D5CDD505-2E9C-101B-9397-08002B2CF9AE}" pid="43" name="SD_OFF_Language">
    <vt:lpwstr/>
  </property>
  <property fmtid="{D5CDD505-2E9C-101B-9397-08002B2CF9AE}" pid="44" name="SD_OFF_Copyright">
    <vt:lpwstr>© %Date:yyyy% Deloitte LLP. All rights reserved.</vt:lpwstr>
  </property>
  <property fmtid="{D5CDD505-2E9C-101B-9397-08002B2CF9AE}" pid="45" name="SD_OFF_Copyright_FR">
    <vt:lpwstr/>
  </property>
  <property fmtid="{D5CDD505-2E9C-101B-9397-08002B2CF9AE}" pid="46" name="SD_OFF_Copyright_IT">
    <vt:lpwstr/>
  </property>
  <property fmtid="{D5CDD505-2E9C-101B-9397-08002B2CF9AE}" pid="47" name="SD_OFF_Copyright_DE">
    <vt:lpwstr/>
  </property>
  <property fmtid="{D5CDD505-2E9C-101B-9397-08002B2CF9AE}" pid="48" name="SD_OFF_LogoName">
    <vt:lpwstr>Logo</vt:lpwstr>
  </property>
  <property fmtid="{D5CDD505-2E9C-101B-9397-08002B2CF9AE}" pid="49" name="SD_OFF_NewsletterLogoName">
    <vt:lpwstr>White_Logo</vt:lpwstr>
  </property>
  <property fmtid="{D5CDD505-2E9C-101B-9397-08002B2CF9AE}" pid="50" name="SD_OFF_ImageDefinition">
    <vt:lpwstr>Standard</vt:lpwstr>
  </property>
  <property fmtid="{D5CDD505-2E9C-101B-9397-08002B2CF9AE}" pid="51" name="SD_OFF_ArtworkDefinition">
    <vt:lpwstr>Standard</vt:lpwstr>
  </property>
  <property fmtid="{D5CDD505-2E9C-101B-9397-08002B2CF9AE}" pid="52" name="SD_OFF_CorporateMessage">
    <vt:lpwstr>LLP</vt:lpwstr>
  </property>
  <property fmtid="{D5CDD505-2E9C-101B-9397-08002B2CF9AE}" pid="53" name="SD_OFF_SocialMedia">
    <vt:lpwstr>UK</vt:lpwstr>
  </property>
  <property fmtid="{D5CDD505-2E9C-101B-9397-08002B2CF9AE}" pid="54" name="SD_OFF_DearBritish">
    <vt:lpwstr>Dear</vt:lpwstr>
  </property>
  <property fmtid="{D5CDD505-2E9C-101B-9397-08002B2CF9AE}" pid="55" name="SD_OFF_DDear">
    <vt:lpwstr>&lt;none&gt;</vt:lpwstr>
  </property>
  <property fmtid="{D5CDD505-2E9C-101B-9397-08002B2CF9AE}" pid="56" name="SD_OFF_DDear_IT">
    <vt:lpwstr>&lt;none&gt;</vt:lpwstr>
  </property>
  <property fmtid="{D5CDD505-2E9C-101B-9397-08002B2CF9AE}" pid="57" name="SD_OFF_DDear_DE">
    <vt:lpwstr>&lt;none&gt;</vt:lpwstr>
  </property>
  <property fmtid="{D5CDD505-2E9C-101B-9397-08002B2CF9AE}" pid="58" name="SD_OFF_DDear_FR">
    <vt:lpwstr>&lt;none&gt;</vt:lpwstr>
  </property>
  <property fmtid="{D5CDD505-2E9C-101B-9397-08002B2CF9AE}" pid="59" name="SD_OFF_ExceptionFilter">
    <vt:lpwstr>Normal</vt:lpwstr>
  </property>
  <property fmtid="{D5CDD505-2E9C-101B-9397-08002B2CF9AE}" pid="60" name="LastCompletedArtworkDefinition">
    <vt:lpwstr>Standard</vt:lpwstr>
  </property>
  <property fmtid="{D5CDD505-2E9C-101B-9397-08002B2CF9AE}" pid="61" name="SD_OFF_SD_OFF_ID">
    <vt:lpwstr>7</vt:lpwstr>
  </property>
  <property fmtid="{D5CDD505-2E9C-101B-9397-08002B2CF9AE}" pid="62" name="SD_OFF_SD_OFF_Address">
    <vt:lpwstr>Cardiff</vt:lpwstr>
  </property>
  <property fmtid="{D5CDD505-2E9C-101B-9397-08002B2CF9AE}" pid="63" name="SD_OFF_SD_OFF_AddressName">
    <vt:lpwstr>5 Callaghan Square
Cardiff
CF10 5BT</vt:lpwstr>
  </property>
  <property fmtid="{D5CDD505-2E9C-101B-9397-08002B2CF9AE}" pid="64" name="SD_OFF_SD_OFF_Country">
    <vt:lpwstr>United Kingdom</vt:lpwstr>
  </property>
  <property fmtid="{D5CDD505-2E9C-101B-9397-08002B2CF9AE}" pid="65" name="SD_OFF_SD_OFF_EmailAddressName">
    <vt:lpwstr>5 Callaghan Square, Cardiff, CF10 5BT</vt:lpwstr>
  </property>
  <property fmtid="{D5CDD505-2E9C-101B-9397-08002B2CF9AE}" pid="66" name="SD_OFF_SD_OFF_Phone">
    <vt:lpwstr>+44 (0)29 2046 0000</vt:lpwstr>
  </property>
  <property fmtid="{D5CDD505-2E9C-101B-9397-08002B2CF9AE}" pid="67" name="SD_OFF_SD_OFF_Fax">
    <vt:lpwstr>+44 (0)29 2026 4444</vt:lpwstr>
  </property>
  <property fmtid="{D5CDD505-2E9C-101B-9397-08002B2CF9AE}" pid="68" name="SD_USR_Name">
    <vt:lpwstr>Abbey Moore</vt:lpwstr>
  </property>
  <property fmtid="{D5CDD505-2E9C-101B-9397-08002B2CF9AE}" pid="69" name="SD_USR_Title">
    <vt:lpwstr>Assistant</vt:lpwstr>
  </property>
  <property fmtid="{D5CDD505-2E9C-101B-9397-08002B2CF9AE}" pid="70" name="SD_USR_DirectPhone">
    <vt:lpwstr>+44 2920 26 4730</vt:lpwstr>
  </property>
  <property fmtid="{D5CDD505-2E9C-101B-9397-08002B2CF9AE}" pid="71" name="SD_USR_DirectFax">
    <vt:lpwstr/>
  </property>
  <property fmtid="{D5CDD505-2E9C-101B-9397-08002B2CF9AE}" pid="72" name="SD_USR_Mobile">
    <vt:lpwstr/>
  </property>
  <property fmtid="{D5CDD505-2E9C-101B-9397-08002B2CF9AE}" pid="73" name="SD_USR_Email">
    <vt:lpwstr>abbeymoore@deloitte.co.uk</vt:lpwstr>
  </property>
  <property fmtid="{D5CDD505-2E9C-101B-9397-08002B2CF9AE}" pid="74" name="SD_ADR_Address">
    <vt:lpwstr>Cardiff</vt:lpwstr>
  </property>
  <property fmtid="{D5CDD505-2E9C-101B-9397-08002B2CF9AE}" pid="75" name="SD_USR_ServiceLine">
    <vt:lpwstr>Audit &amp; Risk Advisory</vt:lpwstr>
  </property>
  <property fmtid="{D5CDD505-2E9C-101B-9397-08002B2CF9AE}" pid="76" name="SD_OFF_OfficialName">
    <vt:lpwstr>Deloitte LLP</vt:lpwstr>
  </property>
  <property fmtid="{D5CDD505-2E9C-101B-9397-08002B2CF9AE}" pid="77" name="SD_FLD_DisableMinutedTable">
    <vt:lpwstr>False</vt:lpwstr>
  </property>
  <property fmtid="{D5CDD505-2E9C-101B-9397-08002B2CF9AE}" pid="78" name="SD_USR_TeamFacebook">
    <vt:lpwstr>Please select... (if available)</vt:lpwstr>
  </property>
  <property fmtid="{D5CDD505-2E9C-101B-9397-08002B2CF9AE}" pid="79" name="SD_USR_TeamTwitter">
    <vt:lpwstr>Please select... (if available)</vt:lpwstr>
  </property>
  <property fmtid="{D5CDD505-2E9C-101B-9397-08002B2CF9AE}" pid="80" name="SD_USR_TeamBlogs">
    <vt:lpwstr>Please select... (if available)</vt:lpwstr>
  </property>
  <property fmtid="{D5CDD505-2E9C-101B-9397-08002B2CF9AE}" pid="81" name="SD_USR_TeamOther">
    <vt:lpwstr>Please select... (if available)</vt:lpwstr>
  </property>
  <property fmtid="{D5CDD505-2E9C-101B-9397-08002B2CF9AE}" pid="82" name="SD_USR_PersonalTwitter">
    <vt:lpwstr/>
  </property>
  <property fmtid="{D5CDD505-2E9C-101B-9397-08002B2CF9AE}" pid="83" name="SD_USR_PersonalLinkedIn">
    <vt:lpwstr/>
  </property>
  <property fmtid="{D5CDD505-2E9C-101B-9397-08002B2CF9AE}" pid="84" name="DocumentInfoFinished">
    <vt:lpwstr>True</vt:lpwstr>
  </property>
</Properties>
</file>